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3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4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6.xml" ContentType="application/vnd.openxmlformats-officedocument.theme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81" r:id="rId5"/>
    <p:sldMasterId id="2147483773" r:id="rId6"/>
    <p:sldMasterId id="2147483692" r:id="rId7"/>
    <p:sldMasterId id="2147483713" r:id="rId8"/>
    <p:sldMasterId id="2147483723" r:id="rId9"/>
    <p:sldMasterId id="2147483807" r:id="rId10"/>
  </p:sldMasterIdLst>
  <p:notesMasterIdLst>
    <p:notesMasterId r:id="rId44"/>
  </p:notesMasterIdLst>
  <p:sldIdLst>
    <p:sldId id="2147474990" r:id="rId11"/>
    <p:sldId id="2147475005" r:id="rId12"/>
    <p:sldId id="2147474964" r:id="rId13"/>
    <p:sldId id="2147475002" r:id="rId14"/>
    <p:sldId id="2147475030" r:id="rId15"/>
    <p:sldId id="2147475031" r:id="rId16"/>
    <p:sldId id="2147474992" r:id="rId17"/>
    <p:sldId id="2147475027" r:id="rId18"/>
    <p:sldId id="2147475029" r:id="rId19"/>
    <p:sldId id="2147474988" r:id="rId20"/>
    <p:sldId id="2147474987" r:id="rId21"/>
    <p:sldId id="283" r:id="rId22"/>
    <p:sldId id="2147475026" r:id="rId23"/>
    <p:sldId id="282" r:id="rId24"/>
    <p:sldId id="2147475016" r:id="rId25"/>
    <p:sldId id="2147475015" r:id="rId26"/>
    <p:sldId id="2147475014" r:id="rId27"/>
    <p:sldId id="2147475013" r:id="rId28"/>
    <p:sldId id="2147475012" r:id="rId29"/>
    <p:sldId id="2147475011" r:id="rId30"/>
    <p:sldId id="2147475010" r:id="rId31"/>
    <p:sldId id="2147475009" r:id="rId32"/>
    <p:sldId id="2147475008" r:id="rId33"/>
    <p:sldId id="2147475007" r:id="rId34"/>
    <p:sldId id="2147475006" r:id="rId35"/>
    <p:sldId id="2147475028" r:id="rId36"/>
    <p:sldId id="2147475022" r:id="rId37"/>
    <p:sldId id="2147475021" r:id="rId38"/>
    <p:sldId id="2147475020" r:id="rId39"/>
    <p:sldId id="2147475019" r:id="rId40"/>
    <p:sldId id="2147475018" r:id="rId41"/>
    <p:sldId id="2147475017" r:id="rId42"/>
    <p:sldId id="2147474993" r:id="rId43"/>
  </p:sldIdLst>
  <p:sldSz cx="12192000" cy="6858000"/>
  <p:notesSz cx="6858000" cy="9144000"/>
  <p:defaultTextStyle>
    <a:defPPr>
      <a:defRPr lang="en-I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Guidelines and tips" id="{51C262E7-DE63-B246-933C-2C733FBD6C9C}">
          <p14:sldIdLst/>
        </p14:section>
        <p14:section name="Default Section" id="{1717138E-E308-C940-A345-391241ED4264}">
          <p14:sldIdLst>
            <p14:sldId id="2147474990"/>
            <p14:sldId id="2147475005"/>
            <p14:sldId id="2147474964"/>
            <p14:sldId id="2147475002"/>
            <p14:sldId id="2147475030"/>
            <p14:sldId id="2147475031"/>
            <p14:sldId id="2147474992"/>
            <p14:sldId id="2147475027"/>
            <p14:sldId id="2147475029"/>
            <p14:sldId id="2147474988"/>
            <p14:sldId id="2147474987"/>
            <p14:sldId id="283"/>
            <p14:sldId id="2147475026"/>
            <p14:sldId id="282"/>
            <p14:sldId id="2147475016"/>
            <p14:sldId id="2147475015"/>
            <p14:sldId id="2147475014"/>
            <p14:sldId id="2147475013"/>
            <p14:sldId id="2147475012"/>
            <p14:sldId id="2147475011"/>
            <p14:sldId id="2147475010"/>
            <p14:sldId id="2147475009"/>
            <p14:sldId id="2147475008"/>
            <p14:sldId id="2147475007"/>
            <p14:sldId id="2147475006"/>
            <p14:sldId id="2147475028"/>
            <p14:sldId id="2147475022"/>
            <p14:sldId id="2147475021"/>
            <p14:sldId id="2147475020"/>
            <p14:sldId id="2147475019"/>
            <p14:sldId id="2147475018"/>
            <p14:sldId id="2147475017"/>
            <p14:sldId id="2147474993"/>
          </p14:sldIdLst>
        </p14:section>
        <p14:section name="Logos/Graphics/icons" id="{BCA7F062-8348-B443-A70D-D066310A6DEE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43267"/>
    <a:srgbClr val="C6C2F5"/>
    <a:srgbClr val="F6C370"/>
    <a:srgbClr val="928BE8"/>
    <a:srgbClr val="EEEBF2"/>
    <a:srgbClr val="361D5C"/>
    <a:srgbClr val="57BCDC"/>
    <a:srgbClr val="29B4A9"/>
    <a:srgbClr val="323133"/>
    <a:srgbClr val="F6C3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45815" autoAdjust="0"/>
  </p:normalViewPr>
  <p:slideViewPr>
    <p:cSldViewPr snapToGrid="0">
      <p:cViewPr varScale="1">
        <p:scale>
          <a:sx n="42" d="100"/>
          <a:sy n="42" d="100"/>
        </p:scale>
        <p:origin x="1806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slide" Target="slides/slide29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slide" Target="slides/slide32.xml"/><Relationship Id="rId47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46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41" Type="http://schemas.openxmlformats.org/officeDocument/2006/relationships/slide" Target="slides/slide3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slide" Target="slides/slide30.xml"/><Relationship Id="rId45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4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slide" Target="slides/slide33.xml"/><Relationship Id="rId48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CEF4E6-DB71-4D1F-BD76-84DE777915BC}" type="datetimeFigureOut">
              <a:rPr lang="en-US" smtClean="0"/>
              <a:t>5/26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FE9D47-F0CD-4A17-9CB3-F0DB60F634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15489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FE9D47-F0CD-4A17-9CB3-F0DB60F6344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7531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FE9D47-F0CD-4A17-9CB3-F0DB60F63445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309955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FE9D47-F0CD-4A17-9CB3-F0DB60F63445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513144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FE9D47-F0CD-4A17-9CB3-F0DB60F63445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522612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FE9D47-F0CD-4A17-9CB3-F0DB60F63445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77955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FE9D47-F0CD-4A17-9CB3-F0DB60F63445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585874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 fontAlgn="base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FE9D47-F0CD-4A17-9CB3-F0DB60F63445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617713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 fontAlgn="base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FE9D47-F0CD-4A17-9CB3-F0DB60F63445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768977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en-P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FE9D47-F0CD-4A17-9CB3-F0DB60F63445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933179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en-P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FE9D47-F0CD-4A17-9CB3-F0DB60F63445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920757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FE9D47-F0CD-4A17-9CB3-F0DB60F63445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45782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728C18-E482-4B75-A64A-09FC84BB009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459034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endParaRPr lang="en-P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FE9D47-F0CD-4A17-9CB3-F0DB60F63445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371764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None/>
            </a:pPr>
            <a:endParaRPr lang="en-P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FE9D47-F0CD-4A17-9CB3-F0DB60F63445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419847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FE9D47-F0CD-4A17-9CB3-F0DB60F63445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333869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FE9D47-F0CD-4A17-9CB3-F0DB60F63445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021552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FE9D47-F0CD-4A17-9CB3-F0DB60F63445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973876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FE9D47-F0CD-4A17-9CB3-F0DB60F63445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681499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FE9D47-F0CD-4A17-9CB3-F0DB60F63445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11139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FE9D47-F0CD-4A17-9CB3-F0DB60F63445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737350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FE9D47-F0CD-4A17-9CB3-F0DB60F63445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87169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FE9D47-F0CD-4A17-9CB3-F0DB60F6344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4690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FE9D47-F0CD-4A17-9CB3-F0DB60F6344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2799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FE9D47-F0CD-4A17-9CB3-F0DB60F63445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82587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FE9D47-F0CD-4A17-9CB3-F0DB60F63445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74100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FE9D47-F0CD-4A17-9CB3-F0DB60F6344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94502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FE9D47-F0CD-4A17-9CB3-F0DB60F63445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78612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FE9D47-F0CD-4A17-9CB3-F0DB60F63445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9500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3.png"/><Relationship Id="rId4" Type="http://schemas.openxmlformats.org/officeDocument/2006/relationships/image" Target="../media/image9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8.png"/><Relationship Id="rId4" Type="http://schemas.openxmlformats.org/officeDocument/2006/relationships/image" Target="../media/image4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8.png"/><Relationship Id="rId4" Type="http://schemas.openxmlformats.org/officeDocument/2006/relationships/image" Target="../media/image4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3.png"/><Relationship Id="rId4" Type="http://schemas.openxmlformats.org/officeDocument/2006/relationships/image" Target="../media/image9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8.png"/><Relationship Id="rId4" Type="http://schemas.openxmlformats.org/officeDocument/2006/relationships/image" Target="../media/image4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8.png"/><Relationship Id="rId4" Type="http://schemas.openxmlformats.org/officeDocument/2006/relationships/image" Target="../media/image4.sv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37.emf"/><Relationship Id="rId4" Type="http://schemas.openxmlformats.org/officeDocument/2006/relationships/image" Target="../media/image36.png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39.emf"/><Relationship Id="rId4" Type="http://schemas.openxmlformats.org/officeDocument/2006/relationships/oleObject" Target="../embeddings/oleObject1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1.pn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2.svg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2.svg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2.svg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2.svg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2.svg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44.svg"/><Relationship Id="rId5" Type="http://schemas.openxmlformats.org/officeDocument/2006/relationships/image" Target="../media/image43.png"/><Relationship Id="rId4" Type="http://schemas.openxmlformats.org/officeDocument/2006/relationships/image" Target="../media/image42.svg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2.svg"/><Relationship Id="rId5" Type="http://schemas.openxmlformats.org/officeDocument/2006/relationships/image" Target="../media/image8.png"/><Relationship Id="rId4" Type="http://schemas.openxmlformats.org/officeDocument/2006/relationships/image" Target="../media/image4.svg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2.svg"/><Relationship Id="rId5" Type="http://schemas.openxmlformats.org/officeDocument/2006/relationships/image" Target="../media/image8.png"/><Relationship Id="rId4" Type="http://schemas.openxmlformats.org/officeDocument/2006/relationships/image" Target="../media/image4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slide/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1812F4C1-9107-094E-74BF-AB7B3A3E99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022221" y="2361448"/>
            <a:ext cx="4147558" cy="1707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95908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BDEDCE82-AC3C-FC49-881A-4158E6CF1A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92000" y="94118"/>
            <a:ext cx="1008000" cy="372708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BD3D993-CAE7-0B4C-98BF-D23A1100AB04}"/>
              </a:ext>
            </a:extLst>
          </p:cNvPr>
          <p:cNvCxnSpPr/>
          <p:nvPr userDrawn="1"/>
        </p:nvCxnSpPr>
        <p:spPr>
          <a:xfrm flipH="1">
            <a:off x="340291" y="275659"/>
            <a:ext cx="5098093" cy="0"/>
          </a:xfrm>
          <a:prstGeom prst="line">
            <a:avLst/>
          </a:prstGeom>
          <a:ln>
            <a:solidFill>
              <a:srgbClr val="F6C3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5389307-8716-A348-921D-FCA8B2CBED8F}"/>
              </a:ext>
            </a:extLst>
          </p:cNvPr>
          <p:cNvCxnSpPr/>
          <p:nvPr userDrawn="1"/>
        </p:nvCxnSpPr>
        <p:spPr>
          <a:xfrm flipH="1">
            <a:off x="6753616" y="275659"/>
            <a:ext cx="5098093" cy="0"/>
          </a:xfrm>
          <a:prstGeom prst="line">
            <a:avLst/>
          </a:prstGeom>
          <a:ln>
            <a:solidFill>
              <a:srgbClr val="F6C3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608322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1" cy="2387600"/>
          </a:xfrm>
        </p:spPr>
        <p:txBody>
          <a:bodyPr anchor="b"/>
          <a:lstStyle>
            <a:lvl1pPr algn="ctr">
              <a:defRPr sz="5785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1" cy="1655762"/>
          </a:xfrm>
        </p:spPr>
        <p:txBody>
          <a:bodyPr/>
          <a:lstStyle>
            <a:lvl1pPr marL="0" indent="0" algn="ctr">
              <a:buNone/>
              <a:defRPr sz="2314"/>
            </a:lvl1pPr>
            <a:lvl2pPr marL="440787" indent="0" algn="ctr">
              <a:buNone/>
              <a:defRPr sz="1928"/>
            </a:lvl2pPr>
            <a:lvl3pPr marL="881573" indent="0" algn="ctr">
              <a:buNone/>
              <a:defRPr sz="1735"/>
            </a:lvl3pPr>
            <a:lvl4pPr marL="1322360" indent="0" algn="ctr">
              <a:buNone/>
              <a:defRPr sz="1543"/>
            </a:lvl4pPr>
            <a:lvl5pPr marL="1763146" indent="0" algn="ctr">
              <a:buNone/>
              <a:defRPr sz="1543"/>
            </a:lvl5pPr>
            <a:lvl6pPr marL="2203933" indent="0" algn="ctr">
              <a:buNone/>
              <a:defRPr sz="1543"/>
            </a:lvl6pPr>
            <a:lvl7pPr marL="2644719" indent="0" algn="ctr">
              <a:buNone/>
              <a:defRPr sz="1543"/>
            </a:lvl7pPr>
            <a:lvl8pPr marL="3085506" indent="0" algn="ctr">
              <a:buNone/>
              <a:defRPr sz="1543"/>
            </a:lvl8pPr>
            <a:lvl9pPr marL="3526292" indent="0" algn="ctr">
              <a:buNone/>
              <a:defRPr sz="154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C2A69C-BEB4-874C-9CCA-A05B547D37AD}" type="datetimeFigureOut">
              <a:rPr lang="en-IS" smtClean="0"/>
              <a:t>05/26/2023</a:t>
            </a:fld>
            <a:endParaRPr lang="en-I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BE1D2B-44C1-4D4D-9299-38F9FD643B27}" type="slidenum">
              <a:rPr lang="en-IS" smtClean="0"/>
              <a:t>‹#›</a:t>
            </a:fld>
            <a:endParaRPr lang="en-IS"/>
          </a:p>
        </p:txBody>
      </p:sp>
    </p:spTree>
    <p:extLst>
      <p:ext uri="{BB962C8B-B14F-4D97-AF65-F5344CB8AC3E}">
        <p14:creationId xmlns:p14="http://schemas.microsoft.com/office/powerpoint/2010/main" val="70312805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C2A69C-BEB4-874C-9CCA-A05B547D37AD}" type="datetimeFigureOut">
              <a:rPr lang="en-IS" smtClean="0"/>
              <a:t>05/26/2023</a:t>
            </a:fld>
            <a:endParaRPr lang="en-I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BE1D2B-44C1-4D4D-9299-38F9FD643B27}" type="slidenum">
              <a:rPr lang="en-IS" smtClean="0"/>
              <a:t>‹#›</a:t>
            </a:fld>
            <a:endParaRPr lang="en-IS"/>
          </a:p>
        </p:txBody>
      </p:sp>
    </p:spTree>
    <p:extLst>
      <p:ext uri="{BB962C8B-B14F-4D97-AF65-F5344CB8AC3E}">
        <p14:creationId xmlns:p14="http://schemas.microsoft.com/office/powerpoint/2010/main" val="50493292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40"/>
            <a:ext cx="10515600" cy="2852737"/>
          </a:xfrm>
        </p:spPr>
        <p:txBody>
          <a:bodyPr anchor="b"/>
          <a:lstStyle>
            <a:lvl1pPr>
              <a:defRPr sz="5785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5"/>
            <a:ext cx="10515600" cy="1500187"/>
          </a:xfrm>
        </p:spPr>
        <p:txBody>
          <a:bodyPr/>
          <a:lstStyle>
            <a:lvl1pPr marL="0" indent="0">
              <a:buNone/>
              <a:defRPr sz="2314">
                <a:solidFill>
                  <a:schemeClr val="tx1">
                    <a:tint val="75000"/>
                  </a:schemeClr>
                </a:solidFill>
              </a:defRPr>
            </a:lvl1pPr>
            <a:lvl2pPr marL="440787" indent="0">
              <a:buNone/>
              <a:defRPr sz="1928">
                <a:solidFill>
                  <a:schemeClr val="tx1">
                    <a:tint val="75000"/>
                  </a:schemeClr>
                </a:solidFill>
              </a:defRPr>
            </a:lvl2pPr>
            <a:lvl3pPr marL="881573" indent="0">
              <a:buNone/>
              <a:defRPr sz="1735">
                <a:solidFill>
                  <a:schemeClr val="tx1">
                    <a:tint val="75000"/>
                  </a:schemeClr>
                </a:solidFill>
              </a:defRPr>
            </a:lvl3pPr>
            <a:lvl4pPr marL="1322360" indent="0">
              <a:buNone/>
              <a:defRPr sz="1543">
                <a:solidFill>
                  <a:schemeClr val="tx1">
                    <a:tint val="75000"/>
                  </a:schemeClr>
                </a:solidFill>
              </a:defRPr>
            </a:lvl4pPr>
            <a:lvl5pPr marL="1763146" indent="0">
              <a:buNone/>
              <a:defRPr sz="1543">
                <a:solidFill>
                  <a:schemeClr val="tx1">
                    <a:tint val="75000"/>
                  </a:schemeClr>
                </a:solidFill>
              </a:defRPr>
            </a:lvl5pPr>
            <a:lvl6pPr marL="2203933" indent="0">
              <a:buNone/>
              <a:defRPr sz="1543">
                <a:solidFill>
                  <a:schemeClr val="tx1">
                    <a:tint val="75000"/>
                  </a:schemeClr>
                </a:solidFill>
              </a:defRPr>
            </a:lvl6pPr>
            <a:lvl7pPr marL="2644719" indent="0">
              <a:buNone/>
              <a:defRPr sz="1543">
                <a:solidFill>
                  <a:schemeClr val="tx1">
                    <a:tint val="75000"/>
                  </a:schemeClr>
                </a:solidFill>
              </a:defRPr>
            </a:lvl7pPr>
            <a:lvl8pPr marL="3085506" indent="0">
              <a:buNone/>
              <a:defRPr sz="1543">
                <a:solidFill>
                  <a:schemeClr val="tx1">
                    <a:tint val="75000"/>
                  </a:schemeClr>
                </a:solidFill>
              </a:defRPr>
            </a:lvl8pPr>
            <a:lvl9pPr marL="3526292" indent="0">
              <a:buNone/>
              <a:defRPr sz="154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C2A69C-BEB4-874C-9CCA-A05B547D37AD}" type="datetimeFigureOut">
              <a:rPr lang="en-IS" smtClean="0"/>
              <a:t>05/26/2023</a:t>
            </a:fld>
            <a:endParaRPr lang="en-I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BE1D2B-44C1-4D4D-9299-38F9FD643B27}" type="slidenum">
              <a:rPr lang="en-IS" smtClean="0"/>
              <a:t>‹#›</a:t>
            </a:fld>
            <a:endParaRPr lang="en-IS"/>
          </a:p>
        </p:txBody>
      </p:sp>
    </p:spTree>
    <p:extLst>
      <p:ext uri="{BB962C8B-B14F-4D97-AF65-F5344CB8AC3E}">
        <p14:creationId xmlns:p14="http://schemas.microsoft.com/office/powerpoint/2010/main" val="281734349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C2A69C-BEB4-874C-9CCA-A05B547D37AD}" type="datetimeFigureOut">
              <a:rPr lang="en-IS" smtClean="0"/>
              <a:t>05/26/2023</a:t>
            </a:fld>
            <a:endParaRPr lang="en-I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BE1D2B-44C1-4D4D-9299-38F9FD643B27}" type="slidenum">
              <a:rPr lang="en-IS" smtClean="0"/>
              <a:t>‹#›</a:t>
            </a:fld>
            <a:endParaRPr lang="en-IS"/>
          </a:p>
        </p:txBody>
      </p:sp>
    </p:spTree>
    <p:extLst>
      <p:ext uri="{BB962C8B-B14F-4D97-AF65-F5344CB8AC3E}">
        <p14:creationId xmlns:p14="http://schemas.microsoft.com/office/powerpoint/2010/main" val="256292032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314" b="1"/>
            </a:lvl1pPr>
            <a:lvl2pPr marL="440787" indent="0">
              <a:buNone/>
              <a:defRPr sz="1928" b="1"/>
            </a:lvl2pPr>
            <a:lvl3pPr marL="881573" indent="0">
              <a:buNone/>
              <a:defRPr sz="1735" b="1"/>
            </a:lvl3pPr>
            <a:lvl4pPr marL="1322360" indent="0">
              <a:buNone/>
              <a:defRPr sz="1543" b="1"/>
            </a:lvl4pPr>
            <a:lvl5pPr marL="1763146" indent="0">
              <a:buNone/>
              <a:defRPr sz="1543" b="1"/>
            </a:lvl5pPr>
            <a:lvl6pPr marL="2203933" indent="0">
              <a:buNone/>
              <a:defRPr sz="1543" b="1"/>
            </a:lvl6pPr>
            <a:lvl7pPr marL="2644719" indent="0">
              <a:buNone/>
              <a:defRPr sz="1543" b="1"/>
            </a:lvl7pPr>
            <a:lvl8pPr marL="3085506" indent="0">
              <a:buNone/>
              <a:defRPr sz="1543" b="1"/>
            </a:lvl8pPr>
            <a:lvl9pPr marL="3526292" indent="0">
              <a:buNone/>
              <a:defRPr sz="154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314" b="1"/>
            </a:lvl1pPr>
            <a:lvl2pPr marL="440787" indent="0">
              <a:buNone/>
              <a:defRPr sz="1928" b="1"/>
            </a:lvl2pPr>
            <a:lvl3pPr marL="881573" indent="0">
              <a:buNone/>
              <a:defRPr sz="1735" b="1"/>
            </a:lvl3pPr>
            <a:lvl4pPr marL="1322360" indent="0">
              <a:buNone/>
              <a:defRPr sz="1543" b="1"/>
            </a:lvl4pPr>
            <a:lvl5pPr marL="1763146" indent="0">
              <a:buNone/>
              <a:defRPr sz="1543" b="1"/>
            </a:lvl5pPr>
            <a:lvl6pPr marL="2203933" indent="0">
              <a:buNone/>
              <a:defRPr sz="1543" b="1"/>
            </a:lvl6pPr>
            <a:lvl7pPr marL="2644719" indent="0">
              <a:buNone/>
              <a:defRPr sz="1543" b="1"/>
            </a:lvl7pPr>
            <a:lvl8pPr marL="3085506" indent="0">
              <a:buNone/>
              <a:defRPr sz="1543" b="1"/>
            </a:lvl8pPr>
            <a:lvl9pPr marL="3526292" indent="0">
              <a:buNone/>
              <a:defRPr sz="154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C2A69C-BEB4-874C-9CCA-A05B547D37AD}" type="datetimeFigureOut">
              <a:rPr lang="en-IS" smtClean="0"/>
              <a:t>05/26/2023</a:t>
            </a:fld>
            <a:endParaRPr lang="en-I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BE1D2B-44C1-4D4D-9299-38F9FD643B27}" type="slidenum">
              <a:rPr lang="en-IS" smtClean="0"/>
              <a:t>‹#›</a:t>
            </a:fld>
            <a:endParaRPr lang="en-IS"/>
          </a:p>
        </p:txBody>
      </p:sp>
    </p:spTree>
    <p:extLst>
      <p:ext uri="{BB962C8B-B14F-4D97-AF65-F5344CB8AC3E}">
        <p14:creationId xmlns:p14="http://schemas.microsoft.com/office/powerpoint/2010/main" val="4074415691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C2A69C-BEB4-874C-9CCA-A05B547D37AD}" type="datetimeFigureOut">
              <a:rPr lang="en-IS" smtClean="0"/>
              <a:t>05/26/2023</a:t>
            </a:fld>
            <a:endParaRPr lang="en-I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BE1D2B-44C1-4D4D-9299-38F9FD643B27}" type="slidenum">
              <a:rPr lang="en-IS" smtClean="0"/>
              <a:t>‹#›</a:t>
            </a:fld>
            <a:endParaRPr lang="en-IS"/>
          </a:p>
        </p:txBody>
      </p:sp>
    </p:spTree>
    <p:extLst>
      <p:ext uri="{BB962C8B-B14F-4D97-AF65-F5344CB8AC3E}">
        <p14:creationId xmlns:p14="http://schemas.microsoft.com/office/powerpoint/2010/main" val="17626506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C2A69C-BEB4-874C-9CCA-A05B547D37AD}" type="datetimeFigureOut">
              <a:rPr lang="en-IS" smtClean="0"/>
              <a:t>05/26/2023</a:t>
            </a:fld>
            <a:endParaRPr lang="en-I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BE1D2B-44C1-4D4D-9299-38F9FD643B27}" type="slidenum">
              <a:rPr lang="en-IS" smtClean="0"/>
              <a:t>‹#›</a:t>
            </a:fld>
            <a:endParaRPr lang="en-IS"/>
          </a:p>
        </p:txBody>
      </p:sp>
    </p:spTree>
    <p:extLst>
      <p:ext uri="{BB962C8B-B14F-4D97-AF65-F5344CB8AC3E}">
        <p14:creationId xmlns:p14="http://schemas.microsoft.com/office/powerpoint/2010/main" val="25116626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085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9" y="987427"/>
            <a:ext cx="6172200" cy="4873625"/>
          </a:xfrm>
        </p:spPr>
        <p:txBody>
          <a:bodyPr/>
          <a:lstStyle>
            <a:lvl1pPr>
              <a:defRPr sz="3085"/>
            </a:lvl1pPr>
            <a:lvl2pPr>
              <a:defRPr sz="2699"/>
            </a:lvl2pPr>
            <a:lvl3pPr>
              <a:defRPr sz="2314"/>
            </a:lvl3pPr>
            <a:lvl4pPr>
              <a:defRPr sz="1928"/>
            </a:lvl4pPr>
            <a:lvl5pPr>
              <a:defRPr sz="1928"/>
            </a:lvl5pPr>
            <a:lvl6pPr>
              <a:defRPr sz="1928"/>
            </a:lvl6pPr>
            <a:lvl7pPr>
              <a:defRPr sz="1928"/>
            </a:lvl7pPr>
            <a:lvl8pPr>
              <a:defRPr sz="1928"/>
            </a:lvl8pPr>
            <a:lvl9pPr>
              <a:defRPr sz="192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543"/>
            </a:lvl1pPr>
            <a:lvl2pPr marL="440787" indent="0">
              <a:buNone/>
              <a:defRPr sz="1350"/>
            </a:lvl2pPr>
            <a:lvl3pPr marL="881573" indent="0">
              <a:buNone/>
              <a:defRPr sz="1157"/>
            </a:lvl3pPr>
            <a:lvl4pPr marL="1322360" indent="0">
              <a:buNone/>
              <a:defRPr sz="964"/>
            </a:lvl4pPr>
            <a:lvl5pPr marL="1763146" indent="0">
              <a:buNone/>
              <a:defRPr sz="964"/>
            </a:lvl5pPr>
            <a:lvl6pPr marL="2203933" indent="0">
              <a:buNone/>
              <a:defRPr sz="964"/>
            </a:lvl6pPr>
            <a:lvl7pPr marL="2644719" indent="0">
              <a:buNone/>
              <a:defRPr sz="964"/>
            </a:lvl7pPr>
            <a:lvl8pPr marL="3085506" indent="0">
              <a:buNone/>
              <a:defRPr sz="964"/>
            </a:lvl8pPr>
            <a:lvl9pPr marL="3526292" indent="0">
              <a:buNone/>
              <a:defRPr sz="964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C2A69C-BEB4-874C-9CCA-A05B547D37AD}" type="datetimeFigureOut">
              <a:rPr lang="en-IS" smtClean="0"/>
              <a:t>05/26/2023</a:t>
            </a:fld>
            <a:endParaRPr lang="en-I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BE1D2B-44C1-4D4D-9299-38F9FD643B27}" type="slidenum">
              <a:rPr lang="en-IS" smtClean="0"/>
              <a:t>‹#›</a:t>
            </a:fld>
            <a:endParaRPr lang="en-IS"/>
          </a:p>
        </p:txBody>
      </p:sp>
    </p:spTree>
    <p:extLst>
      <p:ext uri="{BB962C8B-B14F-4D97-AF65-F5344CB8AC3E}">
        <p14:creationId xmlns:p14="http://schemas.microsoft.com/office/powerpoint/2010/main" val="146266524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085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9" y="987427"/>
            <a:ext cx="6172200" cy="4873625"/>
          </a:xfrm>
        </p:spPr>
        <p:txBody>
          <a:bodyPr anchor="t"/>
          <a:lstStyle>
            <a:lvl1pPr marL="0" indent="0">
              <a:buNone/>
              <a:defRPr sz="3085"/>
            </a:lvl1pPr>
            <a:lvl2pPr marL="440787" indent="0">
              <a:buNone/>
              <a:defRPr sz="2699"/>
            </a:lvl2pPr>
            <a:lvl3pPr marL="881573" indent="0">
              <a:buNone/>
              <a:defRPr sz="2314"/>
            </a:lvl3pPr>
            <a:lvl4pPr marL="1322360" indent="0">
              <a:buNone/>
              <a:defRPr sz="1928"/>
            </a:lvl4pPr>
            <a:lvl5pPr marL="1763146" indent="0">
              <a:buNone/>
              <a:defRPr sz="1928"/>
            </a:lvl5pPr>
            <a:lvl6pPr marL="2203933" indent="0">
              <a:buNone/>
              <a:defRPr sz="1928"/>
            </a:lvl6pPr>
            <a:lvl7pPr marL="2644719" indent="0">
              <a:buNone/>
              <a:defRPr sz="1928"/>
            </a:lvl7pPr>
            <a:lvl8pPr marL="3085506" indent="0">
              <a:buNone/>
              <a:defRPr sz="1928"/>
            </a:lvl8pPr>
            <a:lvl9pPr marL="3526292" indent="0">
              <a:buNone/>
              <a:defRPr sz="1928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543"/>
            </a:lvl1pPr>
            <a:lvl2pPr marL="440787" indent="0">
              <a:buNone/>
              <a:defRPr sz="1350"/>
            </a:lvl2pPr>
            <a:lvl3pPr marL="881573" indent="0">
              <a:buNone/>
              <a:defRPr sz="1157"/>
            </a:lvl3pPr>
            <a:lvl4pPr marL="1322360" indent="0">
              <a:buNone/>
              <a:defRPr sz="964"/>
            </a:lvl4pPr>
            <a:lvl5pPr marL="1763146" indent="0">
              <a:buNone/>
              <a:defRPr sz="964"/>
            </a:lvl5pPr>
            <a:lvl6pPr marL="2203933" indent="0">
              <a:buNone/>
              <a:defRPr sz="964"/>
            </a:lvl6pPr>
            <a:lvl7pPr marL="2644719" indent="0">
              <a:buNone/>
              <a:defRPr sz="964"/>
            </a:lvl7pPr>
            <a:lvl8pPr marL="3085506" indent="0">
              <a:buNone/>
              <a:defRPr sz="964"/>
            </a:lvl8pPr>
            <a:lvl9pPr marL="3526292" indent="0">
              <a:buNone/>
              <a:defRPr sz="964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C2A69C-BEB4-874C-9CCA-A05B547D37AD}" type="datetimeFigureOut">
              <a:rPr lang="en-IS" smtClean="0"/>
              <a:t>05/26/2023</a:t>
            </a:fld>
            <a:endParaRPr lang="en-I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BE1D2B-44C1-4D4D-9299-38F9FD643B27}" type="slidenum">
              <a:rPr lang="en-IS" smtClean="0"/>
              <a:t>‹#›</a:t>
            </a:fld>
            <a:endParaRPr lang="en-IS"/>
          </a:p>
        </p:txBody>
      </p:sp>
    </p:spTree>
    <p:extLst>
      <p:ext uri="{BB962C8B-B14F-4D97-AF65-F5344CB8AC3E}">
        <p14:creationId xmlns:p14="http://schemas.microsoft.com/office/powerpoint/2010/main" val="359020731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C2A69C-BEB4-874C-9CCA-A05B547D37AD}" type="datetimeFigureOut">
              <a:rPr lang="en-IS" smtClean="0"/>
              <a:t>05/26/2023</a:t>
            </a:fld>
            <a:endParaRPr lang="en-I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BE1D2B-44C1-4D4D-9299-38F9FD643B27}" type="slidenum">
              <a:rPr lang="en-IS" smtClean="0"/>
              <a:t>‹#›</a:t>
            </a:fld>
            <a:endParaRPr lang="en-IS"/>
          </a:p>
        </p:txBody>
      </p:sp>
    </p:spTree>
    <p:extLst>
      <p:ext uri="{BB962C8B-B14F-4D97-AF65-F5344CB8AC3E}">
        <p14:creationId xmlns:p14="http://schemas.microsoft.com/office/powerpoint/2010/main" val="18655391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2">
            <a:extLst>
              <a:ext uri="{FF2B5EF4-FFF2-40B4-BE49-F238E27FC236}">
                <a16:creationId xmlns:a16="http://schemas.microsoft.com/office/drawing/2014/main" id="{1DA0E6A1-66AF-A644-9030-3203CC8257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291" y="488601"/>
            <a:ext cx="11511418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>
                <a:solidFill>
                  <a:srgbClr val="F6C370"/>
                </a:solidFill>
              </a:defRPr>
            </a:lvl1pPr>
          </a:lstStyle>
          <a:p>
            <a:r>
              <a:rPr lang="en-GB"/>
              <a:t>Insert slide title</a:t>
            </a:r>
            <a:endParaRPr lang="en-I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653EB8C-1F16-6149-AC51-A2075374274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0291" y="1352550"/>
            <a:ext cx="11484279" cy="50736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BD3D993-CAE7-0B4C-98BF-D23A1100AB04}"/>
              </a:ext>
            </a:extLst>
          </p:cNvPr>
          <p:cNvCxnSpPr/>
          <p:nvPr userDrawn="1"/>
        </p:nvCxnSpPr>
        <p:spPr>
          <a:xfrm flipH="1">
            <a:off x="340291" y="275659"/>
            <a:ext cx="5098093" cy="0"/>
          </a:xfrm>
          <a:prstGeom prst="line">
            <a:avLst/>
          </a:prstGeom>
          <a:ln>
            <a:solidFill>
              <a:srgbClr val="F6C3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5389307-8716-A348-921D-FCA8B2CBED8F}"/>
              </a:ext>
            </a:extLst>
          </p:cNvPr>
          <p:cNvCxnSpPr/>
          <p:nvPr userDrawn="1"/>
        </p:nvCxnSpPr>
        <p:spPr>
          <a:xfrm flipH="1">
            <a:off x="6753616" y="275659"/>
            <a:ext cx="5098093" cy="0"/>
          </a:xfrm>
          <a:prstGeom prst="line">
            <a:avLst/>
          </a:prstGeom>
          <a:ln>
            <a:solidFill>
              <a:srgbClr val="F6C3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B39A094D-326D-C811-8216-2D5EA2BC44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92000" y="94118"/>
            <a:ext cx="1008000" cy="372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657277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C2A69C-BEB4-874C-9CCA-A05B547D37AD}" type="datetimeFigureOut">
              <a:rPr lang="en-IS" smtClean="0"/>
              <a:t>05/26/2023</a:t>
            </a:fld>
            <a:endParaRPr lang="en-I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BE1D2B-44C1-4D4D-9299-38F9FD643B27}" type="slidenum">
              <a:rPr lang="en-IS" smtClean="0"/>
              <a:t>‹#›</a:t>
            </a:fld>
            <a:endParaRPr lang="en-IS"/>
          </a:p>
        </p:txBody>
      </p:sp>
    </p:spTree>
    <p:extLst>
      <p:ext uri="{BB962C8B-B14F-4D97-AF65-F5344CB8AC3E}">
        <p14:creationId xmlns:p14="http://schemas.microsoft.com/office/powerpoint/2010/main" val="28322890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21012F36-8998-C1AE-8F2F-279949AFFDBE}"/>
              </a:ext>
            </a:extLst>
          </p:cNvPr>
          <p:cNvSpPr/>
          <p:nvPr userDrawn="1"/>
        </p:nvSpPr>
        <p:spPr>
          <a:xfrm>
            <a:off x="10613876" y="5136020"/>
            <a:ext cx="1578123" cy="1721980"/>
          </a:xfrm>
          <a:prstGeom prst="rect">
            <a:avLst/>
          </a:prstGeom>
          <a:solidFill>
            <a:srgbClr val="29B4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sp>
        <p:nvSpPr>
          <p:cNvPr id="7" name="Title Placeholder 12">
            <a:extLst>
              <a:ext uri="{FF2B5EF4-FFF2-40B4-BE49-F238E27FC236}">
                <a16:creationId xmlns:a16="http://schemas.microsoft.com/office/drawing/2014/main" id="{1DA0E6A1-66AF-A644-9030-3203CC8257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290" y="488601"/>
            <a:ext cx="11511417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>
                <a:solidFill>
                  <a:srgbClr val="F6C370"/>
                </a:solidFill>
              </a:defRPr>
            </a:lvl1pPr>
          </a:lstStyle>
          <a:p>
            <a:r>
              <a:rPr lang="en-GB"/>
              <a:t>Insert slide title</a:t>
            </a:r>
            <a:endParaRPr lang="en-I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653EB8C-1F16-6149-AC51-A2075374274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0290" y="1352550"/>
            <a:ext cx="5584521" cy="50736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70168AD-C0C4-9641-8C02-1ACFE8EA8DF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67189" y="1352550"/>
            <a:ext cx="5584518" cy="50736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S"/>
              <a:t>Insert pictu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C5F1984-C73F-134F-9911-E66EE857E453}"/>
              </a:ext>
            </a:extLst>
          </p:cNvPr>
          <p:cNvCxnSpPr/>
          <p:nvPr userDrawn="1"/>
        </p:nvCxnSpPr>
        <p:spPr>
          <a:xfrm flipH="1">
            <a:off x="340291" y="275659"/>
            <a:ext cx="5098093" cy="0"/>
          </a:xfrm>
          <a:prstGeom prst="line">
            <a:avLst/>
          </a:prstGeom>
          <a:ln>
            <a:solidFill>
              <a:srgbClr val="F6C3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EB5A95B-1B14-7F43-8414-E39B53C56D5A}"/>
              </a:ext>
            </a:extLst>
          </p:cNvPr>
          <p:cNvCxnSpPr/>
          <p:nvPr userDrawn="1"/>
        </p:nvCxnSpPr>
        <p:spPr>
          <a:xfrm flipH="1">
            <a:off x="6753616" y="275659"/>
            <a:ext cx="5098093" cy="0"/>
          </a:xfrm>
          <a:prstGeom prst="line">
            <a:avLst/>
          </a:prstGeom>
          <a:ln>
            <a:solidFill>
              <a:srgbClr val="F6C3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2141B79D-5FCA-83B1-9283-020AE2F9F6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92000" y="94118"/>
            <a:ext cx="1008000" cy="372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01880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70168AD-C0C4-9641-8C02-1ACFE8EA8DF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4874400" cy="68580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S"/>
              <a:t>Insert picture</a:t>
            </a:r>
          </a:p>
        </p:txBody>
      </p:sp>
      <p:sp>
        <p:nvSpPr>
          <p:cNvPr id="7" name="Title Placeholder 12">
            <a:extLst>
              <a:ext uri="{FF2B5EF4-FFF2-40B4-BE49-F238E27FC236}">
                <a16:creationId xmlns:a16="http://schemas.microsoft.com/office/drawing/2014/main" id="{1DA0E6A1-66AF-A644-9030-3203CC8257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13445" y="488601"/>
            <a:ext cx="6638262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3600">
                <a:solidFill>
                  <a:srgbClr val="F6C370"/>
                </a:solidFill>
              </a:defRPr>
            </a:lvl1pPr>
          </a:lstStyle>
          <a:p>
            <a:r>
              <a:rPr lang="en-GB"/>
              <a:t>Insert slide title</a:t>
            </a:r>
            <a:endParaRPr lang="en-I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C5F1984-C73F-134F-9911-E66EE857E453}"/>
              </a:ext>
            </a:extLst>
          </p:cNvPr>
          <p:cNvCxnSpPr>
            <a:cxnSpLocks/>
          </p:cNvCxnSpPr>
          <p:nvPr userDrawn="1"/>
        </p:nvCxnSpPr>
        <p:spPr>
          <a:xfrm flipH="1">
            <a:off x="5213445" y="275659"/>
            <a:ext cx="2661514" cy="0"/>
          </a:xfrm>
          <a:prstGeom prst="line">
            <a:avLst/>
          </a:prstGeom>
          <a:ln>
            <a:solidFill>
              <a:srgbClr val="F6C3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EB5A95B-1B14-7F43-8414-E39B53C56D5A}"/>
              </a:ext>
            </a:extLst>
          </p:cNvPr>
          <p:cNvCxnSpPr>
            <a:cxnSpLocks/>
          </p:cNvCxnSpPr>
          <p:nvPr userDrawn="1"/>
        </p:nvCxnSpPr>
        <p:spPr>
          <a:xfrm flipH="1">
            <a:off x="9190191" y="275659"/>
            <a:ext cx="2661516" cy="0"/>
          </a:xfrm>
          <a:prstGeom prst="line">
            <a:avLst/>
          </a:prstGeom>
          <a:ln>
            <a:solidFill>
              <a:srgbClr val="F6C3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3172F69-851E-354C-9F9C-79583502B72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13445" y="1352550"/>
            <a:ext cx="6638262" cy="50736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S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2ED9295-5878-6ABD-0EEE-2B92532E4E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028574" y="94118"/>
            <a:ext cx="1008000" cy="372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25789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70168AD-C0C4-9641-8C02-1ACFE8EA8DF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609114" y="555177"/>
            <a:ext cx="4582886" cy="630281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S"/>
              <a:t>Insert pictu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C5F1984-C73F-134F-9911-E66EE857E453}"/>
              </a:ext>
            </a:extLst>
          </p:cNvPr>
          <p:cNvCxnSpPr>
            <a:cxnSpLocks/>
          </p:cNvCxnSpPr>
          <p:nvPr userDrawn="1"/>
        </p:nvCxnSpPr>
        <p:spPr>
          <a:xfrm flipH="1">
            <a:off x="340290" y="275659"/>
            <a:ext cx="8894170" cy="0"/>
          </a:xfrm>
          <a:prstGeom prst="line">
            <a:avLst/>
          </a:prstGeom>
          <a:ln>
            <a:solidFill>
              <a:srgbClr val="F6C3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EB5A95B-1B14-7F43-8414-E39B53C56D5A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49692" y="275659"/>
            <a:ext cx="1642308" cy="0"/>
          </a:xfrm>
          <a:prstGeom prst="line">
            <a:avLst/>
          </a:prstGeom>
          <a:ln>
            <a:solidFill>
              <a:srgbClr val="F6C3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3172F69-851E-354C-9F9C-79583502B72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0290" y="1352550"/>
            <a:ext cx="6816054" cy="50736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S"/>
          </a:p>
        </p:txBody>
      </p:sp>
      <p:sp>
        <p:nvSpPr>
          <p:cNvPr id="12" name="Title Placeholder 12">
            <a:extLst>
              <a:ext uri="{FF2B5EF4-FFF2-40B4-BE49-F238E27FC236}">
                <a16:creationId xmlns:a16="http://schemas.microsoft.com/office/drawing/2014/main" id="{B481A195-D889-E642-93F2-1B3B1F9DA0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290" y="488601"/>
            <a:ext cx="6816055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3600">
                <a:solidFill>
                  <a:srgbClr val="F6C370"/>
                </a:solidFill>
              </a:defRPr>
            </a:lvl1pPr>
          </a:lstStyle>
          <a:p>
            <a:r>
              <a:rPr lang="en-GB"/>
              <a:t>Insert slide title</a:t>
            </a:r>
            <a:endParaRPr lang="en-IS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D24DECEA-C020-205E-B14B-1A6A0C7E64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388075" y="94118"/>
            <a:ext cx="1008000" cy="372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78172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B 2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73A9C32-B246-2A33-D36E-DB3E9D295F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4653" r="4209" b="9623"/>
          <a:stretch/>
        </p:blipFill>
        <p:spPr>
          <a:xfrm>
            <a:off x="5888740" y="0"/>
            <a:ext cx="6303260" cy="685800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55CC390D-A1FF-A90D-15BD-CE69E083366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51139" y="-233202"/>
            <a:ext cx="3373922" cy="2864126"/>
          </a:xfrm>
          <a:prstGeom prst="rect">
            <a:avLst/>
          </a:prstGeom>
        </p:spPr>
      </p:pic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482A353F-912E-AF04-08A7-165E5E20FD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5953" y="2726635"/>
            <a:ext cx="6064295" cy="70236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8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Presentation title</a:t>
            </a:r>
            <a:endParaRPr lang="en-I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9EADCDA5-22DB-19AF-ACD5-BA95557B100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9562513" y="311344"/>
            <a:ext cx="2223534" cy="915572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648316FD-163D-8298-013A-30B2CE1A5DC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5953" y="3627782"/>
            <a:ext cx="2731408" cy="70236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800" b="1">
                <a:solidFill>
                  <a:srgbClr val="928BE8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Speaker name</a:t>
            </a:r>
            <a:endParaRPr lang="en-IS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6575C74F-D538-2609-F65D-8E623CB2B8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38840" y="3627781"/>
            <a:ext cx="2731408" cy="70236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800" b="1">
                <a:solidFill>
                  <a:srgbClr val="928BE8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Speaker name</a:t>
            </a:r>
            <a:endParaRPr lang="en-IS"/>
          </a:p>
        </p:txBody>
      </p:sp>
    </p:spTree>
    <p:extLst>
      <p:ext uri="{BB962C8B-B14F-4D97-AF65-F5344CB8AC3E}">
        <p14:creationId xmlns:p14="http://schemas.microsoft.com/office/powerpoint/2010/main" val="245683580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/question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38D24EBB-B0EE-5B5B-C9A4-62843A93E3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1950" b="14882"/>
          <a:stretch/>
        </p:blipFill>
        <p:spPr>
          <a:xfrm>
            <a:off x="0" y="263470"/>
            <a:ext cx="5368582" cy="659453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CC4F0608-7EA4-7CA7-C0D3-6652B400D5B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7058362" y="263470"/>
            <a:ext cx="2205400" cy="908106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46EEB91-1FBF-2574-9E30-EFC890BC20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29300" y="4379729"/>
            <a:ext cx="5614988" cy="143229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6000" b="1">
                <a:solidFill>
                  <a:srgbClr val="943267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Insert text</a:t>
            </a:r>
            <a:endParaRPr lang="en-I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73CE865-93EA-B7C5-0EF0-E3C2D98B66F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849662" y="717523"/>
            <a:ext cx="4622800" cy="3924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01465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/questions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73A9C32-B246-2A33-D36E-DB3E9D295F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8402" t="12275" r="-1866" b="11542"/>
          <a:stretch/>
        </p:blipFill>
        <p:spPr>
          <a:xfrm>
            <a:off x="-1" y="-1"/>
            <a:ext cx="5439475" cy="685800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1338259C-E955-CAB6-94FE-B423BA04A50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9779950" y="119699"/>
            <a:ext cx="2205400" cy="908106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37317878-0881-97B6-CB3D-F6042E09A76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849662" y="717523"/>
            <a:ext cx="4622800" cy="3924300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BF58BA9E-C307-F67A-09E1-F8B0338B623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57926" y="4641823"/>
            <a:ext cx="4743450" cy="143229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6000" b="1">
                <a:solidFill>
                  <a:srgbClr val="928BE8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Insert text</a:t>
            </a:r>
            <a:endParaRPr lang="en-IS"/>
          </a:p>
        </p:txBody>
      </p:sp>
    </p:spTree>
    <p:extLst>
      <p:ext uri="{BB962C8B-B14F-4D97-AF65-F5344CB8AC3E}">
        <p14:creationId xmlns:p14="http://schemas.microsoft.com/office/powerpoint/2010/main" val="201360166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2">
            <a:extLst>
              <a:ext uri="{FF2B5EF4-FFF2-40B4-BE49-F238E27FC236}">
                <a16:creationId xmlns:a16="http://schemas.microsoft.com/office/drawing/2014/main" id="{1DA0E6A1-66AF-A644-9030-3203CC8257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291" y="488601"/>
            <a:ext cx="11511418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>
                <a:solidFill>
                  <a:srgbClr val="F6C370"/>
                </a:solidFill>
              </a:defRPr>
            </a:lvl1pPr>
          </a:lstStyle>
          <a:p>
            <a:r>
              <a:rPr lang="en-GB"/>
              <a:t>Insert slide title</a:t>
            </a:r>
            <a:endParaRPr lang="en-I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653EB8C-1F16-6149-AC51-A2075374274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0291" y="1352550"/>
            <a:ext cx="11484279" cy="50736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BD3D993-CAE7-0B4C-98BF-D23A1100AB04}"/>
              </a:ext>
            </a:extLst>
          </p:cNvPr>
          <p:cNvCxnSpPr/>
          <p:nvPr userDrawn="1"/>
        </p:nvCxnSpPr>
        <p:spPr>
          <a:xfrm flipH="1">
            <a:off x="340291" y="275659"/>
            <a:ext cx="5098093" cy="0"/>
          </a:xfrm>
          <a:prstGeom prst="line">
            <a:avLst/>
          </a:prstGeom>
          <a:ln>
            <a:solidFill>
              <a:srgbClr val="F6C3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5389307-8716-A348-921D-FCA8B2CBED8F}"/>
              </a:ext>
            </a:extLst>
          </p:cNvPr>
          <p:cNvCxnSpPr/>
          <p:nvPr userDrawn="1"/>
        </p:nvCxnSpPr>
        <p:spPr>
          <a:xfrm flipH="1">
            <a:off x="6753616" y="275659"/>
            <a:ext cx="5098093" cy="0"/>
          </a:xfrm>
          <a:prstGeom prst="line">
            <a:avLst/>
          </a:prstGeom>
          <a:ln>
            <a:solidFill>
              <a:srgbClr val="F6C3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B39A094D-326D-C811-8216-2D5EA2BC44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92000" y="94118"/>
            <a:ext cx="1008000" cy="372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657277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2">
            <a:extLst>
              <a:ext uri="{FF2B5EF4-FFF2-40B4-BE49-F238E27FC236}">
                <a16:creationId xmlns:a16="http://schemas.microsoft.com/office/drawing/2014/main" id="{1DA0E6A1-66AF-A644-9030-3203CC8257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291" y="488601"/>
            <a:ext cx="11511418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>
                <a:solidFill>
                  <a:srgbClr val="F6C370"/>
                </a:solidFill>
              </a:defRPr>
            </a:lvl1pPr>
          </a:lstStyle>
          <a:p>
            <a:r>
              <a:rPr lang="en-GB"/>
              <a:t>Insert slide title</a:t>
            </a:r>
            <a:endParaRPr lang="en-I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653EB8C-1F16-6149-AC51-A2075374274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0291" y="1352550"/>
            <a:ext cx="11484279" cy="50736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BD3D993-CAE7-0B4C-98BF-D23A1100AB04}"/>
              </a:ext>
            </a:extLst>
          </p:cNvPr>
          <p:cNvCxnSpPr/>
          <p:nvPr userDrawn="1"/>
        </p:nvCxnSpPr>
        <p:spPr>
          <a:xfrm flipH="1">
            <a:off x="340291" y="275659"/>
            <a:ext cx="5098093" cy="0"/>
          </a:xfrm>
          <a:prstGeom prst="line">
            <a:avLst/>
          </a:prstGeom>
          <a:ln>
            <a:solidFill>
              <a:srgbClr val="F6C3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5389307-8716-A348-921D-FCA8B2CBED8F}"/>
              </a:ext>
            </a:extLst>
          </p:cNvPr>
          <p:cNvCxnSpPr/>
          <p:nvPr userDrawn="1"/>
        </p:nvCxnSpPr>
        <p:spPr>
          <a:xfrm flipH="1">
            <a:off x="6753616" y="275659"/>
            <a:ext cx="5098093" cy="0"/>
          </a:xfrm>
          <a:prstGeom prst="line">
            <a:avLst/>
          </a:prstGeom>
          <a:ln>
            <a:solidFill>
              <a:srgbClr val="F6C3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B39A094D-326D-C811-8216-2D5EA2BC44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92000" y="94118"/>
            <a:ext cx="1008000" cy="372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65727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ABEB495D-D33F-4B67-34F3-3B068AE15E02}"/>
              </a:ext>
            </a:extLst>
          </p:cNvPr>
          <p:cNvSpPr/>
          <p:nvPr userDrawn="1"/>
        </p:nvSpPr>
        <p:spPr>
          <a:xfrm>
            <a:off x="0" y="0"/>
            <a:ext cx="3546505" cy="1563880"/>
          </a:xfrm>
          <a:prstGeom prst="rect">
            <a:avLst/>
          </a:prstGeom>
          <a:solidFill>
            <a:srgbClr val="29B4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7FAA307-5791-943D-C4EB-9270E7C244E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11998" y="405321"/>
            <a:ext cx="4291605" cy="4328398"/>
          </a:xfrm>
          <a:prstGeom prst="rect">
            <a:avLst/>
          </a:prstGeom>
          <a:ln w="15875">
            <a:gradFill>
              <a:gsLst>
                <a:gs pos="100000">
                  <a:srgbClr val="F6C370">
                    <a:alpha val="0"/>
                  </a:srgbClr>
                </a:gs>
                <a:gs pos="0">
                  <a:srgbClr val="F6C370"/>
                </a:gs>
              </a:gsLst>
              <a:lin ang="5400000" scaled="0"/>
            </a:gradFill>
          </a:ln>
          <a:effectLst>
            <a:outerShdw blurRad="127000" dist="76200" dir="5400000" algn="ctr" rotWithShape="0">
              <a:srgbClr val="000000">
                <a:alpha val="30000"/>
              </a:srgbClr>
            </a:outerShdw>
          </a:effectLst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I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AF329F6-A362-EF03-A812-B1B618ADC89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1998" y="5162399"/>
            <a:ext cx="6967370" cy="5365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>
                <a:solidFill>
                  <a:srgbClr val="F6C37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Insert speaker name</a:t>
            </a:r>
            <a:endParaRPr lang="en-IS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F5128807-5C86-2618-AED8-CD0BC59C116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1998" y="5698959"/>
            <a:ext cx="6967370" cy="37636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Job title</a:t>
            </a:r>
            <a:endParaRPr lang="en-IS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B08A129B-8A0B-082D-128A-76A825E517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1998" y="6076319"/>
            <a:ext cx="6967370" cy="32389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rgbClr val="29B4A9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Email address</a:t>
            </a:r>
            <a:endParaRPr lang="en-I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A39651B-F780-6177-DDDC-B62AC38E5F11}"/>
              </a:ext>
            </a:extLst>
          </p:cNvPr>
          <p:cNvSpPr/>
          <p:nvPr userDrawn="1"/>
        </p:nvSpPr>
        <p:spPr>
          <a:xfrm rot="13500000">
            <a:off x="6824148" y="1779113"/>
            <a:ext cx="3247308" cy="3247308"/>
          </a:xfrm>
          <a:prstGeom prst="rect">
            <a:avLst/>
          </a:prstGeom>
          <a:gradFill>
            <a:gsLst>
              <a:gs pos="100000">
                <a:srgbClr val="361D5C">
                  <a:alpha val="0"/>
                </a:srgbClr>
              </a:gs>
              <a:gs pos="0">
                <a:srgbClr val="361D5C">
                  <a:alpha val="0"/>
                </a:srgbClr>
              </a:gs>
              <a:gs pos="50000">
                <a:srgbClr val="361D5C">
                  <a:alpha val="49617"/>
                </a:srgbClr>
              </a:gs>
            </a:gsLst>
            <a:lin ang="81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352EB82-A26E-55FC-EB98-F4D470741FBE}"/>
              </a:ext>
            </a:extLst>
          </p:cNvPr>
          <p:cNvCxnSpPr>
            <a:cxnSpLocks/>
          </p:cNvCxnSpPr>
          <p:nvPr userDrawn="1"/>
        </p:nvCxnSpPr>
        <p:spPr>
          <a:xfrm>
            <a:off x="9537178" y="5310835"/>
            <a:ext cx="457200" cy="457200"/>
          </a:xfrm>
          <a:prstGeom prst="line">
            <a:avLst/>
          </a:prstGeom>
          <a:ln>
            <a:gradFill>
              <a:gsLst>
                <a:gs pos="0">
                  <a:srgbClr val="F6C370"/>
                </a:gs>
                <a:gs pos="100000">
                  <a:srgbClr val="F6C370">
                    <a:alpha val="0"/>
                  </a:srgb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C108595-8474-4165-2009-68EEDE3FFDA5}"/>
              </a:ext>
            </a:extLst>
          </p:cNvPr>
          <p:cNvCxnSpPr>
            <a:cxnSpLocks/>
          </p:cNvCxnSpPr>
          <p:nvPr userDrawn="1"/>
        </p:nvCxnSpPr>
        <p:spPr>
          <a:xfrm flipH="1">
            <a:off x="6675510" y="405321"/>
            <a:ext cx="1772290" cy="1772290"/>
          </a:xfrm>
          <a:prstGeom prst="line">
            <a:avLst/>
          </a:prstGeom>
          <a:ln>
            <a:gradFill>
              <a:gsLst>
                <a:gs pos="99000">
                  <a:srgbClr val="F6C370">
                    <a:alpha val="0"/>
                  </a:srgbClr>
                </a:gs>
                <a:gs pos="0">
                  <a:srgbClr val="F6C370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A9459DF-BAB2-B778-5DBF-5D0AB1E37F4A}"/>
              </a:ext>
            </a:extLst>
          </p:cNvPr>
          <p:cNvCxnSpPr>
            <a:cxnSpLocks/>
          </p:cNvCxnSpPr>
          <p:nvPr userDrawn="1"/>
        </p:nvCxnSpPr>
        <p:spPr>
          <a:xfrm flipV="1">
            <a:off x="8447800" y="5310836"/>
            <a:ext cx="1089377" cy="1089377"/>
          </a:xfrm>
          <a:prstGeom prst="line">
            <a:avLst/>
          </a:prstGeom>
          <a:ln>
            <a:gradFill>
              <a:gsLst>
                <a:gs pos="0">
                  <a:srgbClr val="F6C370">
                    <a:alpha val="0"/>
                  </a:srgbClr>
                </a:gs>
                <a:gs pos="99000">
                  <a:srgbClr val="F6C370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Graphic 24">
            <a:extLst>
              <a:ext uri="{FF2B5EF4-FFF2-40B4-BE49-F238E27FC236}">
                <a16:creationId xmlns:a16="http://schemas.microsoft.com/office/drawing/2014/main" id="{DB62BD37-2F52-0A73-67D5-3B0A1BC471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065064" y="176833"/>
            <a:ext cx="1966516" cy="809741"/>
          </a:xfrm>
          <a:prstGeom prst="rect">
            <a:avLst/>
          </a:prstGeom>
        </p:spPr>
      </p:pic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2F43E51A-747A-C23E-E965-ACDDCAD854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49033" y="2479536"/>
            <a:ext cx="6397536" cy="624611"/>
          </a:xfrm>
          <a:prstGeom prst="rect">
            <a:avLst/>
          </a:prstGeom>
        </p:spPr>
        <p:txBody>
          <a:bodyPr anchor="t" anchorCtr="0"/>
          <a:lstStyle>
            <a:lvl1pPr marL="0" indent="0" algn="ctr">
              <a:buNone/>
              <a:defRPr sz="40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Presentation title</a:t>
            </a:r>
            <a:endParaRPr lang="en-IS"/>
          </a:p>
        </p:txBody>
      </p:sp>
    </p:spTree>
    <p:extLst>
      <p:ext uri="{BB962C8B-B14F-4D97-AF65-F5344CB8AC3E}">
        <p14:creationId xmlns:p14="http://schemas.microsoft.com/office/powerpoint/2010/main" val="8157301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21012F36-8998-C1AE-8F2F-279949AFFDBE}"/>
              </a:ext>
            </a:extLst>
          </p:cNvPr>
          <p:cNvSpPr/>
          <p:nvPr userDrawn="1"/>
        </p:nvSpPr>
        <p:spPr>
          <a:xfrm>
            <a:off x="10613876" y="5136020"/>
            <a:ext cx="1578123" cy="1721980"/>
          </a:xfrm>
          <a:prstGeom prst="rect">
            <a:avLst/>
          </a:prstGeom>
          <a:solidFill>
            <a:srgbClr val="29B4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sp>
        <p:nvSpPr>
          <p:cNvPr id="7" name="Title Placeholder 12">
            <a:extLst>
              <a:ext uri="{FF2B5EF4-FFF2-40B4-BE49-F238E27FC236}">
                <a16:creationId xmlns:a16="http://schemas.microsoft.com/office/drawing/2014/main" id="{1DA0E6A1-66AF-A644-9030-3203CC8257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290" y="488601"/>
            <a:ext cx="11511417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>
                <a:solidFill>
                  <a:srgbClr val="F6C370"/>
                </a:solidFill>
              </a:defRPr>
            </a:lvl1pPr>
          </a:lstStyle>
          <a:p>
            <a:r>
              <a:rPr lang="en-GB"/>
              <a:t>Insert slide title</a:t>
            </a:r>
            <a:endParaRPr lang="en-I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653EB8C-1F16-6149-AC51-A2075374274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0290" y="1352550"/>
            <a:ext cx="5584521" cy="50736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70168AD-C0C4-9641-8C02-1ACFE8EA8DF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67189" y="1352550"/>
            <a:ext cx="5584518" cy="50736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S"/>
              <a:t>Insert pictu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C5F1984-C73F-134F-9911-E66EE857E453}"/>
              </a:ext>
            </a:extLst>
          </p:cNvPr>
          <p:cNvCxnSpPr/>
          <p:nvPr userDrawn="1"/>
        </p:nvCxnSpPr>
        <p:spPr>
          <a:xfrm flipH="1">
            <a:off x="340291" y="275659"/>
            <a:ext cx="5098093" cy="0"/>
          </a:xfrm>
          <a:prstGeom prst="line">
            <a:avLst/>
          </a:prstGeom>
          <a:ln>
            <a:solidFill>
              <a:srgbClr val="F6C3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EB5A95B-1B14-7F43-8414-E39B53C56D5A}"/>
              </a:ext>
            </a:extLst>
          </p:cNvPr>
          <p:cNvCxnSpPr/>
          <p:nvPr userDrawn="1"/>
        </p:nvCxnSpPr>
        <p:spPr>
          <a:xfrm flipH="1">
            <a:off x="6753616" y="275659"/>
            <a:ext cx="5098093" cy="0"/>
          </a:xfrm>
          <a:prstGeom prst="line">
            <a:avLst/>
          </a:prstGeom>
          <a:ln>
            <a:solidFill>
              <a:srgbClr val="F6C3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2141B79D-5FCA-83B1-9283-020AE2F9F6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92000" y="94118"/>
            <a:ext cx="1008000" cy="372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01880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B 2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73A9C32-B246-2A33-D36E-DB3E9D295F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653" r="4209" b="9623"/>
          <a:stretch/>
        </p:blipFill>
        <p:spPr>
          <a:xfrm>
            <a:off x="5888740" y="0"/>
            <a:ext cx="6303260" cy="685800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55CC390D-A1FF-A90D-15BD-CE69E083366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51139" y="-233202"/>
            <a:ext cx="3373922" cy="2864126"/>
          </a:xfrm>
          <a:prstGeom prst="rect">
            <a:avLst/>
          </a:prstGeom>
        </p:spPr>
      </p:pic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482A353F-912E-AF04-08A7-165E5E20FD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5953" y="2726635"/>
            <a:ext cx="6064295" cy="70236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8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Presentation title</a:t>
            </a:r>
            <a:endParaRPr lang="en-I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9EADCDA5-22DB-19AF-ACD5-BA95557B100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9562513" y="311344"/>
            <a:ext cx="2223534" cy="915572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648316FD-163D-8298-013A-30B2CE1A5DC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5953" y="3627782"/>
            <a:ext cx="2731408" cy="70236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800" b="1">
                <a:solidFill>
                  <a:srgbClr val="928BE8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Speaker name</a:t>
            </a:r>
            <a:endParaRPr lang="en-IS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6575C74F-D538-2609-F65D-8E623CB2B8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38840" y="3627781"/>
            <a:ext cx="2731408" cy="70236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800" b="1">
                <a:solidFill>
                  <a:srgbClr val="928BE8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Speaker name</a:t>
            </a:r>
            <a:endParaRPr lang="en-IS"/>
          </a:p>
        </p:txBody>
      </p:sp>
    </p:spTree>
    <p:extLst>
      <p:ext uri="{BB962C8B-B14F-4D97-AF65-F5344CB8AC3E}">
        <p14:creationId xmlns:p14="http://schemas.microsoft.com/office/powerpoint/2010/main" val="245683580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/question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38D24EBB-B0EE-5B5B-C9A4-62843A93E3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950" b="14882"/>
          <a:stretch/>
        </p:blipFill>
        <p:spPr>
          <a:xfrm>
            <a:off x="0" y="263470"/>
            <a:ext cx="5368582" cy="659453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CC4F0608-7EA4-7CA7-C0D3-6652B400D5B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7058362" y="263470"/>
            <a:ext cx="2205400" cy="908106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46EEB91-1FBF-2574-9E30-EFC890BC20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29300" y="4379729"/>
            <a:ext cx="5614988" cy="143229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6000" b="1">
                <a:solidFill>
                  <a:srgbClr val="943267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Insert text</a:t>
            </a:r>
            <a:endParaRPr lang="en-I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73CE865-93EA-B7C5-0EF0-E3C2D98B66F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849662" y="717523"/>
            <a:ext cx="4622800" cy="3924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01465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/questions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73A9C32-B246-2A33-D36E-DB3E9D295F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606"/>
          <a:stretch/>
        </p:blipFill>
        <p:spPr>
          <a:xfrm>
            <a:off x="-1" y="-1"/>
            <a:ext cx="5439475" cy="685800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1338259C-E955-CAB6-94FE-B423BA04A5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9779950" y="119699"/>
            <a:ext cx="2205400" cy="908106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37317878-0881-97B6-CB3D-F6042E09A76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849662" y="717523"/>
            <a:ext cx="4622800" cy="3924300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BF58BA9E-C307-F67A-09E1-F8B0338B623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57926" y="4641823"/>
            <a:ext cx="4743450" cy="143229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6000" b="1">
                <a:solidFill>
                  <a:srgbClr val="928BE8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Insert text</a:t>
            </a:r>
            <a:endParaRPr lang="en-IS"/>
          </a:p>
        </p:txBody>
      </p:sp>
    </p:spTree>
    <p:extLst>
      <p:ext uri="{BB962C8B-B14F-4D97-AF65-F5344CB8AC3E}">
        <p14:creationId xmlns:p14="http://schemas.microsoft.com/office/powerpoint/2010/main" val="201360166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684455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BDEDCE82-AC3C-FC49-881A-4158E6CF1A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92000" y="89305"/>
            <a:ext cx="1008000" cy="372708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BD3D993-CAE7-0B4C-98BF-D23A1100AB04}"/>
              </a:ext>
            </a:extLst>
          </p:cNvPr>
          <p:cNvCxnSpPr/>
          <p:nvPr userDrawn="1"/>
        </p:nvCxnSpPr>
        <p:spPr>
          <a:xfrm flipH="1">
            <a:off x="340291" y="275659"/>
            <a:ext cx="5098093" cy="0"/>
          </a:xfrm>
          <a:prstGeom prst="line">
            <a:avLst/>
          </a:prstGeom>
          <a:ln>
            <a:solidFill>
              <a:srgbClr val="9432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5389307-8716-A348-921D-FCA8B2CBED8F}"/>
              </a:ext>
            </a:extLst>
          </p:cNvPr>
          <p:cNvCxnSpPr/>
          <p:nvPr userDrawn="1"/>
        </p:nvCxnSpPr>
        <p:spPr>
          <a:xfrm flipH="1">
            <a:off x="6753616" y="275659"/>
            <a:ext cx="5098093" cy="0"/>
          </a:xfrm>
          <a:prstGeom prst="line">
            <a:avLst/>
          </a:prstGeom>
          <a:ln>
            <a:solidFill>
              <a:srgbClr val="9432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27618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2">
            <a:extLst>
              <a:ext uri="{FF2B5EF4-FFF2-40B4-BE49-F238E27FC236}">
                <a16:creationId xmlns:a16="http://schemas.microsoft.com/office/drawing/2014/main" id="{1DA0E6A1-66AF-A644-9030-3203CC8257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291" y="488601"/>
            <a:ext cx="11511418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>
                <a:solidFill>
                  <a:srgbClr val="361D5C"/>
                </a:solidFill>
              </a:defRPr>
            </a:lvl1pPr>
          </a:lstStyle>
          <a:p>
            <a:r>
              <a:rPr lang="en-GB"/>
              <a:t>Insert slide title</a:t>
            </a:r>
            <a:endParaRPr lang="en-I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653EB8C-1F16-6149-AC51-A2075374274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0291" y="1352550"/>
            <a:ext cx="11484279" cy="50736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BD3D993-CAE7-0B4C-98BF-D23A1100AB04}"/>
              </a:ext>
            </a:extLst>
          </p:cNvPr>
          <p:cNvCxnSpPr/>
          <p:nvPr userDrawn="1"/>
        </p:nvCxnSpPr>
        <p:spPr>
          <a:xfrm flipH="1">
            <a:off x="340291" y="275659"/>
            <a:ext cx="5098093" cy="0"/>
          </a:xfrm>
          <a:prstGeom prst="line">
            <a:avLst/>
          </a:prstGeom>
          <a:ln>
            <a:solidFill>
              <a:srgbClr val="9432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5389307-8716-A348-921D-FCA8B2CBED8F}"/>
              </a:ext>
            </a:extLst>
          </p:cNvPr>
          <p:cNvCxnSpPr/>
          <p:nvPr userDrawn="1"/>
        </p:nvCxnSpPr>
        <p:spPr>
          <a:xfrm flipH="1">
            <a:off x="6753616" y="275659"/>
            <a:ext cx="5098093" cy="0"/>
          </a:xfrm>
          <a:prstGeom prst="line">
            <a:avLst/>
          </a:prstGeom>
          <a:ln>
            <a:solidFill>
              <a:srgbClr val="9432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B39A094D-326D-C811-8216-2D5EA2BC44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92000" y="94118"/>
            <a:ext cx="1008000" cy="372708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0A31EF8-9C02-C65C-5517-FE232200B4F0}"/>
              </a:ext>
            </a:extLst>
          </p:cNvPr>
          <p:cNvSpPr/>
          <p:nvPr userDrawn="1"/>
        </p:nvSpPr>
        <p:spPr>
          <a:xfrm>
            <a:off x="0" y="6763882"/>
            <a:ext cx="12191999" cy="94118"/>
          </a:xfrm>
          <a:prstGeom prst="rect">
            <a:avLst/>
          </a:prstGeom>
          <a:solidFill>
            <a:srgbClr val="361D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</p:spTree>
    <p:extLst>
      <p:ext uri="{BB962C8B-B14F-4D97-AF65-F5344CB8AC3E}">
        <p14:creationId xmlns:p14="http://schemas.microsoft.com/office/powerpoint/2010/main" val="408748920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7A7A9796-70D4-F051-6286-88A912822062}"/>
              </a:ext>
            </a:extLst>
          </p:cNvPr>
          <p:cNvSpPr/>
          <p:nvPr userDrawn="1"/>
        </p:nvSpPr>
        <p:spPr>
          <a:xfrm>
            <a:off x="0" y="6763882"/>
            <a:ext cx="12191999" cy="94118"/>
          </a:xfrm>
          <a:prstGeom prst="rect">
            <a:avLst/>
          </a:prstGeom>
          <a:solidFill>
            <a:srgbClr val="361D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CC72C0A1-46D5-2926-AD7B-F2ACE4572520}"/>
              </a:ext>
            </a:extLst>
          </p:cNvPr>
          <p:cNvSpPr/>
          <p:nvPr userDrawn="1"/>
        </p:nvSpPr>
        <p:spPr>
          <a:xfrm flipH="1">
            <a:off x="6822516" y="1493392"/>
            <a:ext cx="5369483" cy="5369482"/>
          </a:xfrm>
          <a:custGeom>
            <a:avLst/>
            <a:gdLst>
              <a:gd name="connsiteX0" fmla="*/ 0 w 5369483"/>
              <a:gd name="connsiteY0" fmla="*/ 0 h 5369482"/>
              <a:gd name="connsiteX1" fmla="*/ 5369483 w 5369483"/>
              <a:gd name="connsiteY1" fmla="*/ 5369482 h 5369482"/>
              <a:gd name="connsiteX2" fmla="*/ 2251404 w 5369483"/>
              <a:gd name="connsiteY2" fmla="*/ 5369482 h 5369482"/>
              <a:gd name="connsiteX3" fmla="*/ 0 w 5369483"/>
              <a:gd name="connsiteY3" fmla="*/ 3118079 h 53694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69483" h="5369482">
                <a:moveTo>
                  <a:pt x="0" y="0"/>
                </a:moveTo>
                <a:lnTo>
                  <a:pt x="5369483" y="5369482"/>
                </a:lnTo>
                <a:lnTo>
                  <a:pt x="2251404" y="5369482"/>
                </a:lnTo>
                <a:lnTo>
                  <a:pt x="0" y="3118079"/>
                </a:lnTo>
                <a:close/>
              </a:path>
            </a:pathLst>
          </a:custGeom>
          <a:solidFill>
            <a:srgbClr val="29B4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S"/>
          </a:p>
        </p:txBody>
      </p:sp>
      <p:sp>
        <p:nvSpPr>
          <p:cNvPr id="7" name="Title Placeholder 12">
            <a:extLst>
              <a:ext uri="{FF2B5EF4-FFF2-40B4-BE49-F238E27FC236}">
                <a16:creationId xmlns:a16="http://schemas.microsoft.com/office/drawing/2014/main" id="{1DA0E6A1-66AF-A644-9030-3203CC8257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290" y="488601"/>
            <a:ext cx="11511417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>
                <a:solidFill>
                  <a:srgbClr val="361D5C"/>
                </a:solidFill>
              </a:defRPr>
            </a:lvl1pPr>
          </a:lstStyle>
          <a:p>
            <a:r>
              <a:rPr lang="en-GB"/>
              <a:t>Insert slide title</a:t>
            </a:r>
            <a:endParaRPr lang="en-I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653EB8C-1F16-6149-AC51-A2075374274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0290" y="1352550"/>
            <a:ext cx="5584521" cy="50736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70168AD-C0C4-9641-8C02-1ACFE8EA8DF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67189" y="1352550"/>
            <a:ext cx="5584518" cy="50736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S"/>
              <a:t>Insert pictu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C5F1984-C73F-134F-9911-E66EE857E453}"/>
              </a:ext>
            </a:extLst>
          </p:cNvPr>
          <p:cNvCxnSpPr/>
          <p:nvPr userDrawn="1"/>
        </p:nvCxnSpPr>
        <p:spPr>
          <a:xfrm flipH="1">
            <a:off x="340291" y="275659"/>
            <a:ext cx="5098093" cy="0"/>
          </a:xfrm>
          <a:prstGeom prst="line">
            <a:avLst/>
          </a:prstGeom>
          <a:ln>
            <a:solidFill>
              <a:srgbClr val="9432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EB5A95B-1B14-7F43-8414-E39B53C56D5A}"/>
              </a:ext>
            </a:extLst>
          </p:cNvPr>
          <p:cNvCxnSpPr/>
          <p:nvPr userDrawn="1"/>
        </p:nvCxnSpPr>
        <p:spPr>
          <a:xfrm flipH="1">
            <a:off x="6753616" y="275659"/>
            <a:ext cx="5098093" cy="0"/>
          </a:xfrm>
          <a:prstGeom prst="line">
            <a:avLst/>
          </a:prstGeom>
          <a:ln>
            <a:solidFill>
              <a:srgbClr val="9432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2141B79D-5FCA-83B1-9283-020AE2F9F6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92000" y="94118"/>
            <a:ext cx="1008000" cy="372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800355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70168AD-C0C4-9641-8C02-1ACFE8EA8DF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0"/>
            <a:ext cx="4874400" cy="676387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S"/>
              <a:t>Insert picture</a:t>
            </a:r>
          </a:p>
        </p:txBody>
      </p:sp>
      <p:sp>
        <p:nvSpPr>
          <p:cNvPr id="7" name="Title Placeholder 12">
            <a:extLst>
              <a:ext uri="{FF2B5EF4-FFF2-40B4-BE49-F238E27FC236}">
                <a16:creationId xmlns:a16="http://schemas.microsoft.com/office/drawing/2014/main" id="{1DA0E6A1-66AF-A644-9030-3203CC8257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13445" y="488601"/>
            <a:ext cx="6638262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3600">
                <a:solidFill>
                  <a:srgbClr val="361D5C"/>
                </a:solidFill>
              </a:defRPr>
            </a:lvl1pPr>
          </a:lstStyle>
          <a:p>
            <a:r>
              <a:rPr lang="en-GB"/>
              <a:t>Insert slide title</a:t>
            </a:r>
            <a:endParaRPr lang="en-I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C5F1984-C73F-134F-9911-E66EE857E453}"/>
              </a:ext>
            </a:extLst>
          </p:cNvPr>
          <p:cNvCxnSpPr>
            <a:cxnSpLocks/>
          </p:cNvCxnSpPr>
          <p:nvPr userDrawn="1"/>
        </p:nvCxnSpPr>
        <p:spPr>
          <a:xfrm flipH="1">
            <a:off x="5213445" y="275659"/>
            <a:ext cx="2661514" cy="0"/>
          </a:xfrm>
          <a:prstGeom prst="line">
            <a:avLst/>
          </a:prstGeom>
          <a:ln>
            <a:solidFill>
              <a:srgbClr val="9432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EB5A95B-1B14-7F43-8414-E39B53C56D5A}"/>
              </a:ext>
            </a:extLst>
          </p:cNvPr>
          <p:cNvCxnSpPr>
            <a:cxnSpLocks/>
          </p:cNvCxnSpPr>
          <p:nvPr userDrawn="1"/>
        </p:nvCxnSpPr>
        <p:spPr>
          <a:xfrm flipH="1">
            <a:off x="9190191" y="275659"/>
            <a:ext cx="2661516" cy="0"/>
          </a:xfrm>
          <a:prstGeom prst="line">
            <a:avLst/>
          </a:prstGeom>
          <a:ln>
            <a:solidFill>
              <a:srgbClr val="9432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3172F69-851E-354C-9F9C-79583502B72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13445" y="1352550"/>
            <a:ext cx="6638262" cy="50736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S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2ED9295-5878-6ABD-0EEE-2B92532E4E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028574" y="94118"/>
            <a:ext cx="1008000" cy="37270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C927A073-0059-2A4C-42E1-31A5AE78F844}"/>
              </a:ext>
            </a:extLst>
          </p:cNvPr>
          <p:cNvSpPr/>
          <p:nvPr userDrawn="1"/>
        </p:nvSpPr>
        <p:spPr>
          <a:xfrm>
            <a:off x="0" y="6763882"/>
            <a:ext cx="12191999" cy="94118"/>
          </a:xfrm>
          <a:prstGeom prst="rect">
            <a:avLst/>
          </a:prstGeom>
          <a:solidFill>
            <a:srgbClr val="361D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</p:spTree>
    <p:extLst>
      <p:ext uri="{BB962C8B-B14F-4D97-AF65-F5344CB8AC3E}">
        <p14:creationId xmlns:p14="http://schemas.microsoft.com/office/powerpoint/2010/main" val="302751522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70168AD-C0C4-9641-8C02-1ACFE8EA8DF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609114" y="555177"/>
            <a:ext cx="4582886" cy="620870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S"/>
              <a:t>Insert pictu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C5F1984-C73F-134F-9911-E66EE857E453}"/>
              </a:ext>
            </a:extLst>
          </p:cNvPr>
          <p:cNvCxnSpPr>
            <a:cxnSpLocks/>
          </p:cNvCxnSpPr>
          <p:nvPr userDrawn="1"/>
        </p:nvCxnSpPr>
        <p:spPr>
          <a:xfrm flipH="1">
            <a:off x="340290" y="275659"/>
            <a:ext cx="8894170" cy="0"/>
          </a:xfrm>
          <a:prstGeom prst="line">
            <a:avLst/>
          </a:prstGeom>
          <a:ln>
            <a:solidFill>
              <a:srgbClr val="9432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EB5A95B-1B14-7F43-8414-E39B53C56D5A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49692" y="275659"/>
            <a:ext cx="1642308" cy="0"/>
          </a:xfrm>
          <a:prstGeom prst="line">
            <a:avLst/>
          </a:prstGeom>
          <a:ln>
            <a:solidFill>
              <a:srgbClr val="9432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3172F69-851E-354C-9F9C-79583502B72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0290" y="1352550"/>
            <a:ext cx="6816054" cy="50736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S"/>
          </a:p>
        </p:txBody>
      </p:sp>
      <p:sp>
        <p:nvSpPr>
          <p:cNvPr id="12" name="Title Placeholder 12">
            <a:extLst>
              <a:ext uri="{FF2B5EF4-FFF2-40B4-BE49-F238E27FC236}">
                <a16:creationId xmlns:a16="http://schemas.microsoft.com/office/drawing/2014/main" id="{B481A195-D889-E642-93F2-1B3B1F9DA0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290" y="488601"/>
            <a:ext cx="6816055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3600">
                <a:solidFill>
                  <a:srgbClr val="361D5C"/>
                </a:solidFill>
              </a:defRPr>
            </a:lvl1pPr>
          </a:lstStyle>
          <a:p>
            <a:r>
              <a:rPr lang="en-GB"/>
              <a:t>Insert slide title</a:t>
            </a:r>
            <a:endParaRPr lang="en-IS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D24DECEA-C020-205E-B14B-1A6A0C7E64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388075" y="94118"/>
            <a:ext cx="1008000" cy="372708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6D90B3E-3A7F-3711-CF80-812FE43D1EF3}"/>
              </a:ext>
            </a:extLst>
          </p:cNvPr>
          <p:cNvSpPr/>
          <p:nvPr userDrawn="1"/>
        </p:nvSpPr>
        <p:spPr>
          <a:xfrm>
            <a:off x="0" y="6763882"/>
            <a:ext cx="12191999" cy="94118"/>
          </a:xfrm>
          <a:prstGeom prst="rect">
            <a:avLst/>
          </a:prstGeom>
          <a:solidFill>
            <a:srgbClr val="361D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</p:spTree>
    <p:extLst>
      <p:ext uri="{BB962C8B-B14F-4D97-AF65-F5344CB8AC3E}">
        <p14:creationId xmlns:p14="http://schemas.microsoft.com/office/powerpoint/2010/main" val="36502962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peaker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87F29889-7A2C-8F94-CAE9-11B28023FC7D}"/>
              </a:ext>
            </a:extLst>
          </p:cNvPr>
          <p:cNvSpPr/>
          <p:nvPr userDrawn="1"/>
        </p:nvSpPr>
        <p:spPr>
          <a:xfrm rot="5400000">
            <a:off x="-361956" y="361957"/>
            <a:ext cx="1826351" cy="1102438"/>
          </a:xfrm>
          <a:prstGeom prst="rect">
            <a:avLst/>
          </a:prstGeom>
          <a:solidFill>
            <a:srgbClr val="29B4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0D6977E-AB56-017E-0E2F-1C370C495DEA}"/>
              </a:ext>
            </a:extLst>
          </p:cNvPr>
          <p:cNvSpPr/>
          <p:nvPr userDrawn="1"/>
        </p:nvSpPr>
        <p:spPr>
          <a:xfrm>
            <a:off x="0" y="3168597"/>
            <a:ext cx="3572142" cy="1102438"/>
          </a:xfrm>
          <a:prstGeom prst="rect">
            <a:avLst/>
          </a:prstGeom>
          <a:solidFill>
            <a:srgbClr val="29B4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7FAA307-5791-943D-C4EB-9270E7C244E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11998" y="832664"/>
            <a:ext cx="1912409" cy="1928805"/>
          </a:xfrm>
          <a:prstGeom prst="rect">
            <a:avLst/>
          </a:prstGeom>
          <a:ln>
            <a:gradFill>
              <a:gsLst>
                <a:gs pos="100000">
                  <a:srgbClr val="F6C370">
                    <a:alpha val="0"/>
                  </a:srgbClr>
                </a:gs>
                <a:gs pos="0">
                  <a:srgbClr val="F6C370"/>
                </a:gs>
              </a:gsLst>
              <a:lin ang="5400000" scaled="0"/>
            </a:gradFill>
          </a:ln>
          <a:effectLst>
            <a:outerShdw blurRad="127000" dist="76200" dir="5400000" algn="ctr" rotWithShape="0">
              <a:srgbClr val="000000">
                <a:alpha val="30000"/>
              </a:srgbClr>
            </a:outerShdw>
          </a:effectLst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I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AF329F6-A362-EF03-A812-B1B618ADC89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1361" y="4972417"/>
            <a:ext cx="4118199" cy="407128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400" b="1">
                <a:solidFill>
                  <a:srgbClr val="F6C37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Insert speaker name</a:t>
            </a:r>
            <a:endParaRPr lang="en-IS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F5128807-5C86-2618-AED8-CD0BC59C116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1361" y="5379545"/>
            <a:ext cx="4118199" cy="3161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Job title</a:t>
            </a:r>
            <a:endParaRPr lang="en-I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A39651B-F780-6177-DDDC-B62AC38E5F11}"/>
              </a:ext>
            </a:extLst>
          </p:cNvPr>
          <p:cNvSpPr/>
          <p:nvPr userDrawn="1"/>
        </p:nvSpPr>
        <p:spPr>
          <a:xfrm rot="13500000">
            <a:off x="6824148" y="1779113"/>
            <a:ext cx="3247308" cy="3247308"/>
          </a:xfrm>
          <a:prstGeom prst="rect">
            <a:avLst/>
          </a:prstGeom>
          <a:gradFill>
            <a:gsLst>
              <a:gs pos="100000">
                <a:srgbClr val="361D5C">
                  <a:alpha val="0"/>
                </a:srgbClr>
              </a:gs>
              <a:gs pos="0">
                <a:srgbClr val="361D5C">
                  <a:alpha val="0"/>
                </a:srgbClr>
              </a:gs>
              <a:gs pos="50000">
                <a:srgbClr val="361D5C">
                  <a:alpha val="49617"/>
                </a:srgbClr>
              </a:gs>
            </a:gsLst>
            <a:lin ang="81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352EB82-A26E-55FC-EB98-F4D470741FBE}"/>
              </a:ext>
            </a:extLst>
          </p:cNvPr>
          <p:cNvCxnSpPr>
            <a:cxnSpLocks/>
          </p:cNvCxnSpPr>
          <p:nvPr userDrawn="1"/>
        </p:nvCxnSpPr>
        <p:spPr>
          <a:xfrm>
            <a:off x="9537178" y="5310835"/>
            <a:ext cx="457200" cy="457200"/>
          </a:xfrm>
          <a:prstGeom prst="line">
            <a:avLst/>
          </a:prstGeom>
          <a:ln>
            <a:gradFill>
              <a:gsLst>
                <a:gs pos="0">
                  <a:srgbClr val="F6C370"/>
                </a:gs>
                <a:gs pos="100000">
                  <a:srgbClr val="F6C370">
                    <a:alpha val="0"/>
                  </a:srgb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C108595-8474-4165-2009-68EEDE3FFDA5}"/>
              </a:ext>
            </a:extLst>
          </p:cNvPr>
          <p:cNvCxnSpPr>
            <a:cxnSpLocks/>
          </p:cNvCxnSpPr>
          <p:nvPr userDrawn="1"/>
        </p:nvCxnSpPr>
        <p:spPr>
          <a:xfrm flipH="1">
            <a:off x="6675510" y="405321"/>
            <a:ext cx="1772290" cy="1772290"/>
          </a:xfrm>
          <a:prstGeom prst="line">
            <a:avLst/>
          </a:prstGeom>
          <a:ln>
            <a:gradFill>
              <a:gsLst>
                <a:gs pos="99000">
                  <a:srgbClr val="F6C370">
                    <a:alpha val="0"/>
                  </a:srgbClr>
                </a:gs>
                <a:gs pos="0">
                  <a:srgbClr val="F6C370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A9459DF-BAB2-B778-5DBF-5D0AB1E37F4A}"/>
              </a:ext>
            </a:extLst>
          </p:cNvPr>
          <p:cNvCxnSpPr>
            <a:cxnSpLocks/>
          </p:cNvCxnSpPr>
          <p:nvPr userDrawn="1"/>
        </p:nvCxnSpPr>
        <p:spPr>
          <a:xfrm flipV="1">
            <a:off x="8447800" y="5310836"/>
            <a:ext cx="1089377" cy="1089377"/>
          </a:xfrm>
          <a:prstGeom prst="line">
            <a:avLst/>
          </a:prstGeom>
          <a:ln>
            <a:gradFill>
              <a:gsLst>
                <a:gs pos="0">
                  <a:srgbClr val="F6C370">
                    <a:alpha val="0"/>
                  </a:srgbClr>
                </a:gs>
                <a:gs pos="99000">
                  <a:srgbClr val="F6C370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Graphic 24">
            <a:extLst>
              <a:ext uri="{FF2B5EF4-FFF2-40B4-BE49-F238E27FC236}">
                <a16:creationId xmlns:a16="http://schemas.microsoft.com/office/drawing/2014/main" id="{DB62BD37-2F52-0A73-67D5-3B0A1BC471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065064" y="176833"/>
            <a:ext cx="1966516" cy="809741"/>
          </a:xfrm>
          <a:prstGeom prst="rect">
            <a:avLst/>
          </a:prstGeom>
        </p:spPr>
      </p:pic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2F43E51A-747A-C23E-E965-ACDDCAD854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85314" y="3008421"/>
            <a:ext cx="6724974" cy="624611"/>
          </a:xfrm>
          <a:prstGeom prst="rect">
            <a:avLst/>
          </a:prstGeom>
        </p:spPr>
        <p:txBody>
          <a:bodyPr anchor="t" anchorCtr="0"/>
          <a:lstStyle>
            <a:lvl1pPr marL="0" indent="0" algn="ctr">
              <a:buNone/>
              <a:defRPr sz="40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Presentation title</a:t>
            </a:r>
            <a:endParaRPr lang="en-IS"/>
          </a:p>
        </p:txBody>
      </p:sp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5414FDC7-DA55-3155-E799-63E04535681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736647" y="2755414"/>
            <a:ext cx="1912409" cy="1928805"/>
          </a:xfrm>
          <a:prstGeom prst="rect">
            <a:avLst/>
          </a:prstGeom>
          <a:ln>
            <a:gradFill>
              <a:gsLst>
                <a:gs pos="100000">
                  <a:srgbClr val="F6C370">
                    <a:alpha val="0"/>
                  </a:srgbClr>
                </a:gs>
                <a:gs pos="0">
                  <a:srgbClr val="F6C370"/>
                </a:gs>
              </a:gsLst>
              <a:lin ang="5400000" scaled="0"/>
            </a:gradFill>
          </a:ln>
          <a:effectLst>
            <a:outerShdw blurRad="127000" dist="76200" dir="5400000" algn="ctr" rotWithShape="0">
              <a:srgbClr val="000000">
                <a:alpha val="30000"/>
              </a:srgbClr>
            </a:outerShdw>
          </a:effectLst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IS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C52DE1B-8B33-CAB2-5BDF-105F3BFCE4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1361" y="5695645"/>
            <a:ext cx="4118199" cy="3161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400" b="0">
                <a:solidFill>
                  <a:srgbClr val="29B4A9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Email address</a:t>
            </a:r>
            <a:endParaRPr lang="en-IS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EC15EA6F-F6E5-0479-44D0-57A4829411D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17788" y="1236822"/>
            <a:ext cx="4118199" cy="4071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rgbClr val="F6C37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Insert speaker name</a:t>
            </a:r>
            <a:endParaRPr lang="en-IS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00F2E815-4A9F-72CD-9049-7BB8DD671F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17788" y="1643950"/>
            <a:ext cx="4118199" cy="31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Job title</a:t>
            </a:r>
            <a:endParaRPr lang="en-IS"/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B8E0FD1C-81FF-4F39-2AFB-0CDF5C86263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617788" y="1960050"/>
            <a:ext cx="4118199" cy="31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rgbClr val="29B4A9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Job title</a:t>
            </a:r>
            <a:endParaRPr lang="en-IS"/>
          </a:p>
        </p:txBody>
      </p:sp>
    </p:spTree>
    <p:extLst>
      <p:ext uri="{BB962C8B-B14F-4D97-AF65-F5344CB8AC3E}">
        <p14:creationId xmlns:p14="http://schemas.microsoft.com/office/powerpoint/2010/main" val="307360622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2">
            <a:extLst>
              <a:ext uri="{FF2B5EF4-FFF2-40B4-BE49-F238E27FC236}">
                <a16:creationId xmlns:a16="http://schemas.microsoft.com/office/drawing/2014/main" id="{1DA0E6A1-66AF-A644-9030-3203CC8257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291" y="488601"/>
            <a:ext cx="11511418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>
                <a:solidFill>
                  <a:srgbClr val="361D5C"/>
                </a:solidFill>
              </a:defRPr>
            </a:lvl1pPr>
          </a:lstStyle>
          <a:p>
            <a:r>
              <a:rPr lang="en-GB"/>
              <a:t>Insert slide title</a:t>
            </a:r>
            <a:endParaRPr lang="en-I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653EB8C-1F16-6149-AC51-A2075374274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0291" y="1352550"/>
            <a:ext cx="11484279" cy="50736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BD3D993-CAE7-0B4C-98BF-D23A1100AB04}"/>
              </a:ext>
            </a:extLst>
          </p:cNvPr>
          <p:cNvCxnSpPr/>
          <p:nvPr userDrawn="1"/>
        </p:nvCxnSpPr>
        <p:spPr>
          <a:xfrm flipH="1">
            <a:off x="340291" y="275659"/>
            <a:ext cx="5098093" cy="0"/>
          </a:xfrm>
          <a:prstGeom prst="line">
            <a:avLst/>
          </a:prstGeom>
          <a:ln>
            <a:solidFill>
              <a:srgbClr val="9432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5389307-8716-A348-921D-FCA8B2CBED8F}"/>
              </a:ext>
            </a:extLst>
          </p:cNvPr>
          <p:cNvCxnSpPr/>
          <p:nvPr userDrawn="1"/>
        </p:nvCxnSpPr>
        <p:spPr>
          <a:xfrm flipH="1">
            <a:off x="6753616" y="275659"/>
            <a:ext cx="5098093" cy="0"/>
          </a:xfrm>
          <a:prstGeom prst="line">
            <a:avLst/>
          </a:prstGeom>
          <a:ln>
            <a:solidFill>
              <a:srgbClr val="9432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B39A094D-326D-C811-8216-2D5EA2BC44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92000" y="94118"/>
            <a:ext cx="1008000" cy="372708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0A31EF8-9C02-C65C-5517-FE232200B4F0}"/>
              </a:ext>
            </a:extLst>
          </p:cNvPr>
          <p:cNvSpPr/>
          <p:nvPr userDrawn="1"/>
        </p:nvSpPr>
        <p:spPr>
          <a:xfrm>
            <a:off x="0" y="6763882"/>
            <a:ext cx="12191999" cy="94118"/>
          </a:xfrm>
          <a:prstGeom prst="rect">
            <a:avLst/>
          </a:prstGeom>
          <a:solidFill>
            <a:srgbClr val="361D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</p:spTree>
    <p:extLst>
      <p:ext uri="{BB962C8B-B14F-4D97-AF65-F5344CB8AC3E}">
        <p14:creationId xmlns:p14="http://schemas.microsoft.com/office/powerpoint/2010/main" val="408748920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2">
            <a:extLst>
              <a:ext uri="{FF2B5EF4-FFF2-40B4-BE49-F238E27FC236}">
                <a16:creationId xmlns:a16="http://schemas.microsoft.com/office/drawing/2014/main" id="{1DA0E6A1-66AF-A644-9030-3203CC8257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291" y="488601"/>
            <a:ext cx="11511418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>
                <a:solidFill>
                  <a:srgbClr val="361D5C"/>
                </a:solidFill>
              </a:defRPr>
            </a:lvl1pPr>
          </a:lstStyle>
          <a:p>
            <a:r>
              <a:rPr lang="en-GB"/>
              <a:t>Insert slide title</a:t>
            </a:r>
            <a:endParaRPr lang="en-I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653EB8C-1F16-6149-AC51-A2075374274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0291" y="1352550"/>
            <a:ext cx="11484279" cy="50736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BD3D993-CAE7-0B4C-98BF-D23A1100AB04}"/>
              </a:ext>
            </a:extLst>
          </p:cNvPr>
          <p:cNvCxnSpPr/>
          <p:nvPr userDrawn="1"/>
        </p:nvCxnSpPr>
        <p:spPr>
          <a:xfrm flipH="1">
            <a:off x="340291" y="275659"/>
            <a:ext cx="5098093" cy="0"/>
          </a:xfrm>
          <a:prstGeom prst="line">
            <a:avLst/>
          </a:prstGeom>
          <a:ln>
            <a:solidFill>
              <a:srgbClr val="9432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5389307-8716-A348-921D-FCA8B2CBED8F}"/>
              </a:ext>
            </a:extLst>
          </p:cNvPr>
          <p:cNvCxnSpPr/>
          <p:nvPr userDrawn="1"/>
        </p:nvCxnSpPr>
        <p:spPr>
          <a:xfrm flipH="1">
            <a:off x="6753616" y="275659"/>
            <a:ext cx="5098093" cy="0"/>
          </a:xfrm>
          <a:prstGeom prst="line">
            <a:avLst/>
          </a:prstGeom>
          <a:ln>
            <a:solidFill>
              <a:srgbClr val="9432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B39A094D-326D-C811-8216-2D5EA2BC44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92000" y="94118"/>
            <a:ext cx="1008000" cy="372708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0A31EF8-9C02-C65C-5517-FE232200B4F0}"/>
              </a:ext>
            </a:extLst>
          </p:cNvPr>
          <p:cNvSpPr/>
          <p:nvPr userDrawn="1"/>
        </p:nvSpPr>
        <p:spPr>
          <a:xfrm>
            <a:off x="0" y="6763882"/>
            <a:ext cx="12191999" cy="94118"/>
          </a:xfrm>
          <a:prstGeom prst="rect">
            <a:avLst/>
          </a:prstGeom>
          <a:solidFill>
            <a:srgbClr val="361D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</p:spTree>
    <p:extLst>
      <p:ext uri="{BB962C8B-B14F-4D97-AF65-F5344CB8AC3E}">
        <p14:creationId xmlns:p14="http://schemas.microsoft.com/office/powerpoint/2010/main" val="408748920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2">
            <a:extLst>
              <a:ext uri="{FF2B5EF4-FFF2-40B4-BE49-F238E27FC236}">
                <a16:creationId xmlns:a16="http://schemas.microsoft.com/office/drawing/2014/main" id="{1DA0E6A1-66AF-A644-9030-3203CC8257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291" y="488601"/>
            <a:ext cx="11511418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>
                <a:solidFill>
                  <a:srgbClr val="361D5C"/>
                </a:solidFill>
              </a:defRPr>
            </a:lvl1pPr>
          </a:lstStyle>
          <a:p>
            <a:r>
              <a:rPr lang="en-GB"/>
              <a:t>Insert slide title</a:t>
            </a:r>
            <a:endParaRPr lang="en-I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653EB8C-1F16-6149-AC51-A2075374274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0291" y="1352550"/>
            <a:ext cx="11484279" cy="50736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BD3D993-CAE7-0B4C-98BF-D23A1100AB04}"/>
              </a:ext>
            </a:extLst>
          </p:cNvPr>
          <p:cNvCxnSpPr/>
          <p:nvPr userDrawn="1"/>
        </p:nvCxnSpPr>
        <p:spPr>
          <a:xfrm flipH="1">
            <a:off x="340291" y="275659"/>
            <a:ext cx="5098093" cy="0"/>
          </a:xfrm>
          <a:prstGeom prst="line">
            <a:avLst/>
          </a:prstGeom>
          <a:ln>
            <a:solidFill>
              <a:srgbClr val="9432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5389307-8716-A348-921D-FCA8B2CBED8F}"/>
              </a:ext>
            </a:extLst>
          </p:cNvPr>
          <p:cNvCxnSpPr/>
          <p:nvPr userDrawn="1"/>
        </p:nvCxnSpPr>
        <p:spPr>
          <a:xfrm flipH="1">
            <a:off x="6753616" y="275659"/>
            <a:ext cx="5098093" cy="0"/>
          </a:xfrm>
          <a:prstGeom prst="line">
            <a:avLst/>
          </a:prstGeom>
          <a:ln>
            <a:solidFill>
              <a:srgbClr val="9432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B39A094D-326D-C811-8216-2D5EA2BC44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92000" y="94118"/>
            <a:ext cx="1008000" cy="372708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0A31EF8-9C02-C65C-5517-FE232200B4F0}"/>
              </a:ext>
            </a:extLst>
          </p:cNvPr>
          <p:cNvSpPr/>
          <p:nvPr userDrawn="1"/>
        </p:nvSpPr>
        <p:spPr>
          <a:xfrm>
            <a:off x="0" y="6763882"/>
            <a:ext cx="12191999" cy="94118"/>
          </a:xfrm>
          <a:prstGeom prst="rect">
            <a:avLst/>
          </a:prstGeom>
          <a:solidFill>
            <a:srgbClr val="361D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</p:spTree>
    <p:extLst>
      <p:ext uri="{BB962C8B-B14F-4D97-AF65-F5344CB8AC3E}">
        <p14:creationId xmlns:p14="http://schemas.microsoft.com/office/powerpoint/2010/main" val="408748920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2">
            <a:extLst>
              <a:ext uri="{FF2B5EF4-FFF2-40B4-BE49-F238E27FC236}">
                <a16:creationId xmlns:a16="http://schemas.microsoft.com/office/drawing/2014/main" id="{1DA0E6A1-66AF-A644-9030-3203CC8257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291" y="488601"/>
            <a:ext cx="11511418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>
                <a:solidFill>
                  <a:srgbClr val="361D5C"/>
                </a:solidFill>
              </a:defRPr>
            </a:lvl1pPr>
          </a:lstStyle>
          <a:p>
            <a:r>
              <a:rPr lang="en-GB"/>
              <a:t>Insert slide title</a:t>
            </a:r>
            <a:endParaRPr lang="en-I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653EB8C-1F16-6149-AC51-A2075374274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0291" y="1352550"/>
            <a:ext cx="11484279" cy="50736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BD3D993-CAE7-0B4C-98BF-D23A1100AB04}"/>
              </a:ext>
            </a:extLst>
          </p:cNvPr>
          <p:cNvCxnSpPr/>
          <p:nvPr userDrawn="1"/>
        </p:nvCxnSpPr>
        <p:spPr>
          <a:xfrm flipH="1">
            <a:off x="340291" y="275659"/>
            <a:ext cx="5098093" cy="0"/>
          </a:xfrm>
          <a:prstGeom prst="line">
            <a:avLst/>
          </a:prstGeom>
          <a:ln>
            <a:solidFill>
              <a:srgbClr val="9432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5389307-8716-A348-921D-FCA8B2CBED8F}"/>
              </a:ext>
            </a:extLst>
          </p:cNvPr>
          <p:cNvCxnSpPr/>
          <p:nvPr userDrawn="1"/>
        </p:nvCxnSpPr>
        <p:spPr>
          <a:xfrm flipH="1">
            <a:off x="6753616" y="275659"/>
            <a:ext cx="5098093" cy="0"/>
          </a:xfrm>
          <a:prstGeom prst="line">
            <a:avLst/>
          </a:prstGeom>
          <a:ln>
            <a:solidFill>
              <a:srgbClr val="9432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B39A094D-326D-C811-8216-2D5EA2BC44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92000" y="94118"/>
            <a:ext cx="1008000" cy="372708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0A31EF8-9C02-C65C-5517-FE232200B4F0}"/>
              </a:ext>
            </a:extLst>
          </p:cNvPr>
          <p:cNvSpPr/>
          <p:nvPr userDrawn="1"/>
        </p:nvSpPr>
        <p:spPr>
          <a:xfrm>
            <a:off x="0" y="6763882"/>
            <a:ext cx="12191999" cy="94118"/>
          </a:xfrm>
          <a:prstGeom prst="rect">
            <a:avLst/>
          </a:prstGeom>
          <a:solidFill>
            <a:srgbClr val="361D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</p:spTree>
    <p:extLst>
      <p:ext uri="{BB962C8B-B14F-4D97-AF65-F5344CB8AC3E}">
        <p14:creationId xmlns:p14="http://schemas.microsoft.com/office/powerpoint/2010/main" val="408748920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2">
            <a:extLst>
              <a:ext uri="{FF2B5EF4-FFF2-40B4-BE49-F238E27FC236}">
                <a16:creationId xmlns:a16="http://schemas.microsoft.com/office/drawing/2014/main" id="{1DA0E6A1-66AF-A644-9030-3203CC8257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291" y="488601"/>
            <a:ext cx="11511418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>
                <a:solidFill>
                  <a:srgbClr val="361D5C"/>
                </a:solidFill>
              </a:defRPr>
            </a:lvl1pPr>
          </a:lstStyle>
          <a:p>
            <a:r>
              <a:rPr lang="en-GB"/>
              <a:t>Insert slide title</a:t>
            </a:r>
            <a:endParaRPr lang="en-I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653EB8C-1F16-6149-AC51-A2075374274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0291" y="1352550"/>
            <a:ext cx="11484279" cy="50736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BD3D993-CAE7-0B4C-98BF-D23A1100AB04}"/>
              </a:ext>
            </a:extLst>
          </p:cNvPr>
          <p:cNvCxnSpPr/>
          <p:nvPr userDrawn="1"/>
        </p:nvCxnSpPr>
        <p:spPr>
          <a:xfrm flipH="1">
            <a:off x="340291" y="275659"/>
            <a:ext cx="5098093" cy="0"/>
          </a:xfrm>
          <a:prstGeom prst="line">
            <a:avLst/>
          </a:prstGeom>
          <a:ln>
            <a:solidFill>
              <a:srgbClr val="9432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5389307-8716-A348-921D-FCA8B2CBED8F}"/>
              </a:ext>
            </a:extLst>
          </p:cNvPr>
          <p:cNvCxnSpPr/>
          <p:nvPr userDrawn="1"/>
        </p:nvCxnSpPr>
        <p:spPr>
          <a:xfrm flipH="1">
            <a:off x="6753616" y="275659"/>
            <a:ext cx="5098093" cy="0"/>
          </a:xfrm>
          <a:prstGeom prst="line">
            <a:avLst/>
          </a:prstGeom>
          <a:ln>
            <a:solidFill>
              <a:srgbClr val="9432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B39A094D-326D-C811-8216-2D5EA2BC44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92000" y="94118"/>
            <a:ext cx="1008000" cy="372708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0A31EF8-9C02-C65C-5517-FE232200B4F0}"/>
              </a:ext>
            </a:extLst>
          </p:cNvPr>
          <p:cNvSpPr/>
          <p:nvPr userDrawn="1"/>
        </p:nvSpPr>
        <p:spPr>
          <a:xfrm>
            <a:off x="0" y="6763882"/>
            <a:ext cx="12191999" cy="94118"/>
          </a:xfrm>
          <a:prstGeom prst="rect">
            <a:avLst/>
          </a:prstGeom>
          <a:solidFill>
            <a:srgbClr val="361D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</p:spTree>
    <p:extLst>
      <p:ext uri="{BB962C8B-B14F-4D97-AF65-F5344CB8AC3E}">
        <p14:creationId xmlns:p14="http://schemas.microsoft.com/office/powerpoint/2010/main" val="408748920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2">
            <a:extLst>
              <a:ext uri="{FF2B5EF4-FFF2-40B4-BE49-F238E27FC236}">
                <a16:creationId xmlns:a16="http://schemas.microsoft.com/office/drawing/2014/main" id="{1DA0E6A1-66AF-A644-9030-3203CC8257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291" y="488601"/>
            <a:ext cx="11511418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>
                <a:solidFill>
                  <a:srgbClr val="361D5C"/>
                </a:solidFill>
              </a:defRPr>
            </a:lvl1pPr>
          </a:lstStyle>
          <a:p>
            <a:r>
              <a:rPr lang="en-GB"/>
              <a:t>Insert slide title</a:t>
            </a:r>
            <a:endParaRPr lang="en-I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653EB8C-1F16-6149-AC51-A2075374274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0291" y="1352550"/>
            <a:ext cx="11484279" cy="50736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BD3D993-CAE7-0B4C-98BF-D23A1100AB04}"/>
              </a:ext>
            </a:extLst>
          </p:cNvPr>
          <p:cNvCxnSpPr/>
          <p:nvPr userDrawn="1"/>
        </p:nvCxnSpPr>
        <p:spPr>
          <a:xfrm flipH="1">
            <a:off x="340291" y="275659"/>
            <a:ext cx="5098093" cy="0"/>
          </a:xfrm>
          <a:prstGeom prst="line">
            <a:avLst/>
          </a:prstGeom>
          <a:ln>
            <a:solidFill>
              <a:srgbClr val="9432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5389307-8716-A348-921D-FCA8B2CBED8F}"/>
              </a:ext>
            </a:extLst>
          </p:cNvPr>
          <p:cNvCxnSpPr/>
          <p:nvPr userDrawn="1"/>
        </p:nvCxnSpPr>
        <p:spPr>
          <a:xfrm flipH="1">
            <a:off x="6753616" y="275659"/>
            <a:ext cx="5098093" cy="0"/>
          </a:xfrm>
          <a:prstGeom prst="line">
            <a:avLst/>
          </a:prstGeom>
          <a:ln>
            <a:solidFill>
              <a:srgbClr val="9432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B39A094D-326D-C811-8216-2D5EA2BC44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92000" y="94118"/>
            <a:ext cx="1008000" cy="372708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0A31EF8-9C02-C65C-5517-FE232200B4F0}"/>
              </a:ext>
            </a:extLst>
          </p:cNvPr>
          <p:cNvSpPr/>
          <p:nvPr userDrawn="1"/>
        </p:nvSpPr>
        <p:spPr>
          <a:xfrm>
            <a:off x="0" y="6763882"/>
            <a:ext cx="12191999" cy="94118"/>
          </a:xfrm>
          <a:prstGeom prst="rect">
            <a:avLst/>
          </a:prstGeom>
          <a:solidFill>
            <a:srgbClr val="361D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</p:spTree>
    <p:extLst>
      <p:ext uri="{BB962C8B-B14F-4D97-AF65-F5344CB8AC3E}">
        <p14:creationId xmlns:p14="http://schemas.microsoft.com/office/powerpoint/2010/main" val="408748920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2">
            <a:extLst>
              <a:ext uri="{FF2B5EF4-FFF2-40B4-BE49-F238E27FC236}">
                <a16:creationId xmlns:a16="http://schemas.microsoft.com/office/drawing/2014/main" id="{1DA0E6A1-66AF-A644-9030-3203CC8257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291" y="488601"/>
            <a:ext cx="11511418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>
                <a:solidFill>
                  <a:srgbClr val="361D5C"/>
                </a:solidFill>
              </a:defRPr>
            </a:lvl1pPr>
          </a:lstStyle>
          <a:p>
            <a:r>
              <a:rPr lang="en-GB"/>
              <a:t>Insert slide title</a:t>
            </a:r>
            <a:endParaRPr lang="en-I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653EB8C-1F16-6149-AC51-A2075374274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0291" y="1352550"/>
            <a:ext cx="11484279" cy="50736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BD3D993-CAE7-0B4C-98BF-D23A1100AB04}"/>
              </a:ext>
            </a:extLst>
          </p:cNvPr>
          <p:cNvCxnSpPr/>
          <p:nvPr userDrawn="1"/>
        </p:nvCxnSpPr>
        <p:spPr>
          <a:xfrm flipH="1">
            <a:off x="340291" y="275659"/>
            <a:ext cx="5098093" cy="0"/>
          </a:xfrm>
          <a:prstGeom prst="line">
            <a:avLst/>
          </a:prstGeom>
          <a:ln>
            <a:solidFill>
              <a:srgbClr val="9432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5389307-8716-A348-921D-FCA8B2CBED8F}"/>
              </a:ext>
            </a:extLst>
          </p:cNvPr>
          <p:cNvCxnSpPr/>
          <p:nvPr userDrawn="1"/>
        </p:nvCxnSpPr>
        <p:spPr>
          <a:xfrm flipH="1">
            <a:off x="6753616" y="275659"/>
            <a:ext cx="5098093" cy="0"/>
          </a:xfrm>
          <a:prstGeom prst="line">
            <a:avLst/>
          </a:prstGeom>
          <a:ln>
            <a:solidFill>
              <a:srgbClr val="9432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B39A094D-326D-C811-8216-2D5EA2BC44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92000" y="94118"/>
            <a:ext cx="1008000" cy="372708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0A31EF8-9C02-C65C-5517-FE232200B4F0}"/>
              </a:ext>
            </a:extLst>
          </p:cNvPr>
          <p:cNvSpPr/>
          <p:nvPr userDrawn="1"/>
        </p:nvSpPr>
        <p:spPr>
          <a:xfrm>
            <a:off x="0" y="6763882"/>
            <a:ext cx="12191999" cy="94118"/>
          </a:xfrm>
          <a:prstGeom prst="rect">
            <a:avLst/>
          </a:prstGeom>
          <a:solidFill>
            <a:srgbClr val="361D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</p:spTree>
    <p:extLst>
      <p:ext uri="{BB962C8B-B14F-4D97-AF65-F5344CB8AC3E}">
        <p14:creationId xmlns:p14="http://schemas.microsoft.com/office/powerpoint/2010/main" val="408748920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BDEDCE82-AC3C-FC49-881A-4158E6CF1A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92000" y="89305"/>
            <a:ext cx="1008000" cy="372708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BD3D993-CAE7-0B4C-98BF-D23A1100AB04}"/>
              </a:ext>
            </a:extLst>
          </p:cNvPr>
          <p:cNvCxnSpPr/>
          <p:nvPr userDrawn="1"/>
        </p:nvCxnSpPr>
        <p:spPr>
          <a:xfrm flipH="1">
            <a:off x="340291" y="275659"/>
            <a:ext cx="5098093" cy="0"/>
          </a:xfrm>
          <a:prstGeom prst="line">
            <a:avLst/>
          </a:prstGeom>
          <a:ln>
            <a:solidFill>
              <a:srgbClr val="9432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5389307-8716-A348-921D-FCA8B2CBED8F}"/>
              </a:ext>
            </a:extLst>
          </p:cNvPr>
          <p:cNvCxnSpPr/>
          <p:nvPr userDrawn="1"/>
        </p:nvCxnSpPr>
        <p:spPr>
          <a:xfrm flipH="1">
            <a:off x="6753616" y="275659"/>
            <a:ext cx="5098093" cy="0"/>
          </a:xfrm>
          <a:prstGeom prst="line">
            <a:avLst/>
          </a:prstGeom>
          <a:ln>
            <a:solidFill>
              <a:srgbClr val="9432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276186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BDEDCE82-AC3C-FC49-881A-4158E6CF1A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92000" y="89305"/>
            <a:ext cx="1008000" cy="372708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BD3D993-CAE7-0B4C-98BF-D23A1100AB04}"/>
              </a:ext>
            </a:extLst>
          </p:cNvPr>
          <p:cNvCxnSpPr/>
          <p:nvPr userDrawn="1"/>
        </p:nvCxnSpPr>
        <p:spPr>
          <a:xfrm flipH="1">
            <a:off x="340291" y="275659"/>
            <a:ext cx="5098093" cy="0"/>
          </a:xfrm>
          <a:prstGeom prst="line">
            <a:avLst/>
          </a:prstGeom>
          <a:ln>
            <a:solidFill>
              <a:srgbClr val="9432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5389307-8716-A348-921D-FCA8B2CBED8F}"/>
              </a:ext>
            </a:extLst>
          </p:cNvPr>
          <p:cNvCxnSpPr/>
          <p:nvPr userDrawn="1"/>
        </p:nvCxnSpPr>
        <p:spPr>
          <a:xfrm flipH="1">
            <a:off x="6753616" y="275659"/>
            <a:ext cx="5098093" cy="0"/>
          </a:xfrm>
          <a:prstGeom prst="line">
            <a:avLst/>
          </a:prstGeom>
          <a:ln>
            <a:solidFill>
              <a:srgbClr val="9432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276186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2">
            <a:extLst>
              <a:ext uri="{FF2B5EF4-FFF2-40B4-BE49-F238E27FC236}">
                <a16:creationId xmlns:a16="http://schemas.microsoft.com/office/drawing/2014/main" id="{1DA0E6A1-66AF-A644-9030-3203CC8257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291" y="488601"/>
            <a:ext cx="11511418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>
                <a:solidFill>
                  <a:srgbClr val="361D5C"/>
                </a:solidFill>
              </a:defRPr>
            </a:lvl1pPr>
          </a:lstStyle>
          <a:p>
            <a:r>
              <a:rPr lang="en-GB"/>
              <a:t>Insert slide title</a:t>
            </a:r>
            <a:endParaRPr lang="en-I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653EB8C-1F16-6149-AC51-A2075374274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0291" y="1352550"/>
            <a:ext cx="11484279" cy="50736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BD3D993-CAE7-0B4C-98BF-D23A1100AB04}"/>
              </a:ext>
            </a:extLst>
          </p:cNvPr>
          <p:cNvCxnSpPr/>
          <p:nvPr userDrawn="1"/>
        </p:nvCxnSpPr>
        <p:spPr>
          <a:xfrm flipH="1">
            <a:off x="340291" y="275659"/>
            <a:ext cx="5098093" cy="0"/>
          </a:xfrm>
          <a:prstGeom prst="line">
            <a:avLst/>
          </a:prstGeom>
          <a:ln>
            <a:solidFill>
              <a:srgbClr val="9432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5389307-8716-A348-921D-FCA8B2CBED8F}"/>
              </a:ext>
            </a:extLst>
          </p:cNvPr>
          <p:cNvCxnSpPr/>
          <p:nvPr userDrawn="1"/>
        </p:nvCxnSpPr>
        <p:spPr>
          <a:xfrm flipH="1">
            <a:off x="6753616" y="275659"/>
            <a:ext cx="5098093" cy="0"/>
          </a:xfrm>
          <a:prstGeom prst="line">
            <a:avLst/>
          </a:prstGeom>
          <a:ln>
            <a:solidFill>
              <a:srgbClr val="9432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B39A094D-326D-C811-8216-2D5EA2BC44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92000" y="94118"/>
            <a:ext cx="1008000" cy="372708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0A31EF8-9C02-C65C-5517-FE232200B4F0}"/>
              </a:ext>
            </a:extLst>
          </p:cNvPr>
          <p:cNvSpPr/>
          <p:nvPr userDrawn="1"/>
        </p:nvSpPr>
        <p:spPr>
          <a:xfrm>
            <a:off x="0" y="6763882"/>
            <a:ext cx="12191999" cy="94118"/>
          </a:xfrm>
          <a:prstGeom prst="rect">
            <a:avLst/>
          </a:prstGeom>
          <a:solidFill>
            <a:srgbClr val="361D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</p:spTree>
    <p:extLst>
      <p:ext uri="{BB962C8B-B14F-4D97-AF65-F5344CB8AC3E}">
        <p14:creationId xmlns:p14="http://schemas.microsoft.com/office/powerpoint/2010/main" val="40874892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peaker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>
            <a:extLst>
              <a:ext uri="{FF2B5EF4-FFF2-40B4-BE49-F238E27FC236}">
                <a16:creationId xmlns:a16="http://schemas.microsoft.com/office/drawing/2014/main" id="{448E058F-DFF2-4523-1214-C4143033F556}"/>
              </a:ext>
            </a:extLst>
          </p:cNvPr>
          <p:cNvSpPr/>
          <p:nvPr userDrawn="1"/>
        </p:nvSpPr>
        <p:spPr>
          <a:xfrm rot="5400000">
            <a:off x="9994552" y="2420846"/>
            <a:ext cx="1398165" cy="2996728"/>
          </a:xfrm>
          <a:prstGeom prst="rect">
            <a:avLst/>
          </a:prstGeom>
          <a:solidFill>
            <a:srgbClr val="9432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7F29889-7A2C-8F94-CAE9-11B28023FC7D}"/>
              </a:ext>
            </a:extLst>
          </p:cNvPr>
          <p:cNvSpPr/>
          <p:nvPr userDrawn="1"/>
        </p:nvSpPr>
        <p:spPr>
          <a:xfrm rot="5400000">
            <a:off x="783611" y="1492915"/>
            <a:ext cx="1398165" cy="2965393"/>
          </a:xfrm>
          <a:prstGeom prst="rect">
            <a:avLst/>
          </a:prstGeom>
          <a:solidFill>
            <a:srgbClr val="29B4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7FAA307-5791-943D-C4EB-9270E7C244E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018618" y="2466490"/>
            <a:ext cx="1912409" cy="1928805"/>
          </a:xfrm>
          <a:prstGeom prst="rect">
            <a:avLst/>
          </a:prstGeom>
          <a:ln>
            <a:gradFill>
              <a:gsLst>
                <a:gs pos="100000">
                  <a:srgbClr val="F6C370">
                    <a:alpha val="0"/>
                  </a:srgbClr>
                </a:gs>
                <a:gs pos="0">
                  <a:srgbClr val="F6C370"/>
                </a:gs>
              </a:gsLst>
              <a:lin ang="5400000" scaled="0"/>
            </a:gradFill>
          </a:ln>
          <a:effectLst>
            <a:outerShdw blurRad="127000" dist="76200" dir="5400000" algn="ctr" rotWithShape="0">
              <a:srgbClr val="000000">
                <a:alpha val="30000"/>
              </a:srgbClr>
            </a:outerShdw>
          </a:effectLst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IS"/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B62BD37-2F52-0A73-67D5-3B0A1BC471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139796" y="187974"/>
            <a:ext cx="1912408" cy="787460"/>
          </a:xfrm>
          <a:prstGeom prst="rect">
            <a:avLst/>
          </a:prstGeom>
        </p:spPr>
      </p:pic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2F43E51A-747A-C23E-E965-ACDDCAD854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88464" y="1157139"/>
            <a:ext cx="10215072" cy="624611"/>
          </a:xfrm>
          <a:prstGeom prst="rect">
            <a:avLst/>
          </a:prstGeom>
        </p:spPr>
        <p:txBody>
          <a:bodyPr anchor="t" anchorCtr="0"/>
          <a:lstStyle>
            <a:lvl1pPr marL="0" indent="0" algn="ctr">
              <a:buNone/>
              <a:defRPr sz="40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Presentation title</a:t>
            </a:r>
            <a:endParaRPr lang="en-IS"/>
          </a:p>
        </p:txBody>
      </p:sp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5414FDC7-DA55-3155-E799-63E04535681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39795" y="2464597"/>
            <a:ext cx="1912409" cy="1928805"/>
          </a:xfrm>
          <a:prstGeom prst="rect">
            <a:avLst/>
          </a:prstGeom>
          <a:ln>
            <a:gradFill>
              <a:gsLst>
                <a:gs pos="100000">
                  <a:srgbClr val="F6C370">
                    <a:alpha val="0"/>
                  </a:srgbClr>
                </a:gs>
                <a:gs pos="0">
                  <a:srgbClr val="F6C370"/>
                </a:gs>
              </a:gsLst>
              <a:lin ang="5400000" scaled="0"/>
            </a:gradFill>
          </a:ln>
          <a:effectLst>
            <a:outerShdw blurRad="127000" dist="76200" dir="5400000" algn="ctr" rotWithShape="0">
              <a:srgbClr val="000000">
                <a:alpha val="30000"/>
              </a:srgbClr>
            </a:outerShdw>
          </a:effectLst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IS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EC15EA6F-F6E5-0479-44D0-57A4829411D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98516" y="4758267"/>
            <a:ext cx="2832464" cy="40712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1">
                <a:solidFill>
                  <a:srgbClr val="F6C37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Insert speaker name</a:t>
            </a:r>
            <a:endParaRPr lang="en-IS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00F2E815-4A9F-72CD-9049-7BB8DD671F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798516" y="5165395"/>
            <a:ext cx="2832464" cy="3161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Job title</a:t>
            </a:r>
            <a:endParaRPr lang="en-IS"/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B8E0FD1C-81FF-4F39-2AFB-0CDF5C86263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98516" y="5481495"/>
            <a:ext cx="2832464" cy="3161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" b="0">
                <a:solidFill>
                  <a:srgbClr val="29B4A9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Email address</a:t>
            </a:r>
            <a:endParaRPr lang="en-IS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5A8BCD7E-DA6F-A5C8-8FD9-EC3FB730E0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260972" y="2464597"/>
            <a:ext cx="1912409" cy="1928805"/>
          </a:xfrm>
          <a:prstGeom prst="rect">
            <a:avLst/>
          </a:prstGeom>
          <a:ln>
            <a:gradFill>
              <a:gsLst>
                <a:gs pos="100000">
                  <a:srgbClr val="F6C370">
                    <a:alpha val="0"/>
                  </a:srgbClr>
                </a:gs>
                <a:gs pos="0">
                  <a:srgbClr val="F6C370"/>
                </a:gs>
              </a:gsLst>
              <a:lin ang="5400000" scaled="0"/>
            </a:gradFill>
          </a:ln>
          <a:effectLst>
            <a:outerShdw blurRad="127000" dist="76200" dir="5400000" algn="ctr" rotWithShape="0">
              <a:srgbClr val="000000">
                <a:alpha val="30000"/>
              </a:srgbClr>
            </a:outerShdw>
          </a:effectLst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IS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05554ADB-A1BB-EA53-7906-7F8EE8EDD68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79740" y="4758267"/>
            <a:ext cx="2832464" cy="40712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1">
                <a:solidFill>
                  <a:srgbClr val="F6C37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Insert speaker name</a:t>
            </a:r>
            <a:endParaRPr lang="en-IS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5D14A476-A3B5-445D-E682-F91E17B8FA9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79740" y="5165395"/>
            <a:ext cx="2832464" cy="3161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Job title</a:t>
            </a:r>
            <a:endParaRPr lang="en-IS"/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D45E67C5-13D8-3059-4CE7-FC711CAF8F3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679740" y="5481495"/>
            <a:ext cx="2832464" cy="3161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" b="0">
                <a:solidFill>
                  <a:srgbClr val="29B4A9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Email address</a:t>
            </a:r>
            <a:endParaRPr lang="en-IS"/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8ABE284B-E079-CDAF-8277-72A9FF70E9C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553222" y="4758267"/>
            <a:ext cx="2832464" cy="40712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1">
                <a:solidFill>
                  <a:srgbClr val="F6C37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Insert speaker name</a:t>
            </a:r>
            <a:endParaRPr lang="en-IS"/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43509816-BCD1-C310-A99A-936A3635752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53222" y="5165395"/>
            <a:ext cx="2832464" cy="3161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Job title</a:t>
            </a:r>
            <a:endParaRPr lang="en-IS"/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8134047A-EF15-C520-19EA-E6527EDC169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553222" y="5481495"/>
            <a:ext cx="2832464" cy="3161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" b="0">
                <a:solidFill>
                  <a:srgbClr val="29B4A9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Email address</a:t>
            </a:r>
            <a:endParaRPr lang="en-IS"/>
          </a:p>
        </p:txBody>
      </p:sp>
    </p:spTree>
    <p:extLst>
      <p:ext uri="{BB962C8B-B14F-4D97-AF65-F5344CB8AC3E}">
        <p14:creationId xmlns:p14="http://schemas.microsoft.com/office/powerpoint/2010/main" val="10040017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S Centra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2">
            <a:extLst>
              <a:ext uri="{FF2B5EF4-FFF2-40B4-BE49-F238E27FC236}">
                <a16:creationId xmlns:a16="http://schemas.microsoft.com/office/drawing/2014/main" id="{64D9D044-A701-E940-B90A-79FBC444A3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291" y="488601"/>
            <a:ext cx="11511418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GB"/>
              <a:t>Insert slide title</a:t>
            </a:r>
            <a:endParaRPr lang="en-IS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CDAA8F-28BF-F74E-A05E-EF59E623D7E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0291" y="1352550"/>
            <a:ext cx="11484279" cy="50736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3138DB38-5290-8E4B-BE35-A79902F8CF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778151" y="182167"/>
            <a:ext cx="1192320" cy="214446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4A7B48C0-1F88-F749-8540-C0F6142DFADA}"/>
              </a:ext>
            </a:extLst>
          </p:cNvPr>
          <p:cNvSpPr/>
          <p:nvPr userDrawn="1"/>
        </p:nvSpPr>
        <p:spPr>
          <a:xfrm>
            <a:off x="0" y="0"/>
            <a:ext cx="111760" cy="6858000"/>
          </a:xfrm>
          <a:prstGeom prst="rect">
            <a:avLst/>
          </a:prstGeom>
          <a:solidFill>
            <a:srgbClr val="1388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C79CD8C-2338-8142-A026-8595CBCF84B3}"/>
              </a:ext>
            </a:extLst>
          </p:cNvPr>
          <p:cNvCxnSpPr>
            <a:cxnSpLocks/>
          </p:cNvCxnSpPr>
          <p:nvPr userDrawn="1"/>
        </p:nvCxnSpPr>
        <p:spPr>
          <a:xfrm>
            <a:off x="173812" y="0"/>
            <a:ext cx="0" cy="6858000"/>
          </a:xfrm>
          <a:prstGeom prst="line">
            <a:avLst/>
          </a:prstGeom>
          <a:ln>
            <a:solidFill>
              <a:srgbClr val="8ED6E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663982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S Centra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24">
            <a:extLst>
              <a:ext uri="{FF2B5EF4-FFF2-40B4-BE49-F238E27FC236}">
                <a16:creationId xmlns:a16="http://schemas.microsoft.com/office/drawing/2014/main" id="{F14DCA7F-477F-EC49-BD8F-C3B6AE99007E}"/>
              </a:ext>
            </a:extLst>
          </p:cNvPr>
          <p:cNvSpPr/>
          <p:nvPr userDrawn="1"/>
        </p:nvSpPr>
        <p:spPr>
          <a:xfrm>
            <a:off x="0" y="0"/>
            <a:ext cx="3429000" cy="6858000"/>
          </a:xfrm>
          <a:custGeom>
            <a:avLst/>
            <a:gdLst>
              <a:gd name="connsiteX0" fmla="*/ 0 w 3429000"/>
              <a:gd name="connsiteY0" fmla="*/ 0 h 6858000"/>
              <a:gd name="connsiteX1" fmla="*/ 3429000 w 3429000"/>
              <a:gd name="connsiteY1" fmla="*/ 3429000 h 6858000"/>
              <a:gd name="connsiteX2" fmla="*/ 0 w 3429000"/>
              <a:gd name="connsiteY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29000" h="6858000">
                <a:moveTo>
                  <a:pt x="0" y="0"/>
                </a:moveTo>
                <a:cubicBezTo>
                  <a:pt x="1893784" y="0"/>
                  <a:pt x="3429000" y="1535216"/>
                  <a:pt x="3429000" y="3429000"/>
                </a:cubicBezTo>
                <a:cubicBezTo>
                  <a:pt x="3429000" y="5322784"/>
                  <a:pt x="1893784" y="6858000"/>
                  <a:pt x="0" y="6858000"/>
                </a:cubicBezTo>
                <a:close/>
              </a:path>
            </a:pathLst>
          </a:custGeom>
          <a:solidFill>
            <a:srgbClr val="1388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S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374A81D5-DE12-D748-BFFA-4C4967A5BF1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441325"/>
            <a:ext cx="2987675" cy="5975350"/>
          </a:xfrm>
          <a:custGeom>
            <a:avLst/>
            <a:gdLst>
              <a:gd name="connsiteX0" fmla="*/ 0 w 2546350"/>
              <a:gd name="connsiteY0" fmla="*/ 0 h 5092700"/>
              <a:gd name="connsiteX1" fmla="*/ 2546350 w 2546350"/>
              <a:gd name="connsiteY1" fmla="*/ 2546350 h 5092700"/>
              <a:gd name="connsiteX2" fmla="*/ 0 w 2546350"/>
              <a:gd name="connsiteY2" fmla="*/ 5092700 h 5092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46350" h="5092700">
                <a:moveTo>
                  <a:pt x="0" y="0"/>
                </a:moveTo>
                <a:cubicBezTo>
                  <a:pt x="1406310" y="0"/>
                  <a:pt x="2546350" y="1140040"/>
                  <a:pt x="2546350" y="2546350"/>
                </a:cubicBezTo>
                <a:cubicBezTo>
                  <a:pt x="2546350" y="3952660"/>
                  <a:pt x="1406310" y="5092700"/>
                  <a:pt x="0" y="50927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IS"/>
          </a:p>
        </p:txBody>
      </p:sp>
      <p:sp>
        <p:nvSpPr>
          <p:cNvPr id="29" name="Title Placeholder 12">
            <a:extLst>
              <a:ext uri="{FF2B5EF4-FFF2-40B4-BE49-F238E27FC236}">
                <a16:creationId xmlns:a16="http://schemas.microsoft.com/office/drawing/2014/main" id="{8ED9D5E6-8ADF-D843-853F-B53C0B5301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44800" y="488601"/>
            <a:ext cx="9006909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GB"/>
              <a:t>Insert slide title</a:t>
            </a:r>
            <a:endParaRPr lang="en-I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714C39F3-198E-6B4B-933E-3539119F38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86200" y="1352550"/>
            <a:ext cx="7938370" cy="50736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6DDB14FA-7509-EA1F-EAA4-4A7E0BB8BB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778151" y="182167"/>
            <a:ext cx="1192320" cy="214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9272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S Central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DDC50F77-C5B2-FC4E-B53E-FBF4BB05BD6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11760" y="0"/>
            <a:ext cx="4762640" cy="68580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S"/>
              <a:t>Insert picture</a:t>
            </a:r>
          </a:p>
        </p:txBody>
      </p:sp>
      <p:sp>
        <p:nvSpPr>
          <p:cNvPr id="20" name="Title Placeholder 12">
            <a:extLst>
              <a:ext uri="{FF2B5EF4-FFF2-40B4-BE49-F238E27FC236}">
                <a16:creationId xmlns:a16="http://schemas.microsoft.com/office/drawing/2014/main" id="{A6214D5F-693C-514C-8CF4-BEB12DD3AE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13445" y="488601"/>
            <a:ext cx="6638262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3600"/>
            </a:lvl1pPr>
          </a:lstStyle>
          <a:p>
            <a:r>
              <a:rPr lang="en-GB"/>
              <a:t>Insert slide title</a:t>
            </a:r>
            <a:endParaRPr lang="en-IS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2890AF6C-696E-D043-AD31-40A9110E8A1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13445" y="1352550"/>
            <a:ext cx="6638262" cy="50736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81A9397-DEB3-D749-865A-556A86E66776}"/>
              </a:ext>
            </a:extLst>
          </p:cNvPr>
          <p:cNvSpPr/>
          <p:nvPr userDrawn="1"/>
        </p:nvSpPr>
        <p:spPr>
          <a:xfrm>
            <a:off x="0" y="0"/>
            <a:ext cx="111760" cy="6858000"/>
          </a:xfrm>
          <a:prstGeom prst="rect">
            <a:avLst/>
          </a:prstGeom>
          <a:solidFill>
            <a:srgbClr val="1388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490F9FC8-67C0-D925-2EEF-6A02C4C485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778151" y="182167"/>
            <a:ext cx="1192320" cy="214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672125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S Central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8582AF3E-986C-FB4E-81F7-E29E877A773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609114" y="544289"/>
            <a:ext cx="4582886" cy="576942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S"/>
              <a:t>Insert pictur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922FECE6-2948-0E42-889E-AB3276D7C1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0290" y="1352550"/>
            <a:ext cx="6816054" cy="49611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S"/>
          </a:p>
        </p:txBody>
      </p:sp>
      <p:sp>
        <p:nvSpPr>
          <p:cNvPr id="7" name="Title Placeholder 12">
            <a:extLst>
              <a:ext uri="{FF2B5EF4-FFF2-40B4-BE49-F238E27FC236}">
                <a16:creationId xmlns:a16="http://schemas.microsoft.com/office/drawing/2014/main" id="{6C5E7629-C9F0-B04B-98AB-B647A4074F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290" y="488601"/>
            <a:ext cx="6816055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3600"/>
            </a:lvl1pPr>
          </a:lstStyle>
          <a:p>
            <a:r>
              <a:rPr lang="en-GB"/>
              <a:t>Insert slide title</a:t>
            </a:r>
            <a:endParaRPr lang="en-I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5DD32FD-66BF-7E44-B1A7-D341AC08E35A}"/>
              </a:ext>
            </a:extLst>
          </p:cNvPr>
          <p:cNvSpPr/>
          <p:nvPr userDrawn="1"/>
        </p:nvSpPr>
        <p:spPr>
          <a:xfrm>
            <a:off x="0" y="0"/>
            <a:ext cx="111760" cy="6858000"/>
          </a:xfrm>
          <a:prstGeom prst="rect">
            <a:avLst/>
          </a:prstGeom>
          <a:solidFill>
            <a:srgbClr val="1388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1D85F05-6996-704B-9AEC-863B0CCCFC23}"/>
              </a:ext>
            </a:extLst>
          </p:cNvPr>
          <p:cNvCxnSpPr>
            <a:cxnSpLocks/>
          </p:cNvCxnSpPr>
          <p:nvPr userDrawn="1"/>
        </p:nvCxnSpPr>
        <p:spPr>
          <a:xfrm>
            <a:off x="173812" y="0"/>
            <a:ext cx="0" cy="6858000"/>
          </a:xfrm>
          <a:prstGeom prst="line">
            <a:avLst/>
          </a:prstGeom>
          <a:ln>
            <a:solidFill>
              <a:srgbClr val="8ED6E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phic 8">
            <a:extLst>
              <a:ext uri="{FF2B5EF4-FFF2-40B4-BE49-F238E27FC236}">
                <a16:creationId xmlns:a16="http://schemas.microsoft.com/office/drawing/2014/main" id="{22CA7279-ED52-D80D-06B3-EF649AF750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778151" y="182167"/>
            <a:ext cx="1192320" cy="214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176008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S Central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6712BABA-51B5-E434-495A-10BB6760930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778151" y="182167"/>
            <a:ext cx="1192320" cy="214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910997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S Firs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2">
            <a:extLst>
              <a:ext uri="{FF2B5EF4-FFF2-40B4-BE49-F238E27FC236}">
                <a16:creationId xmlns:a16="http://schemas.microsoft.com/office/drawing/2014/main" id="{64D9D044-A701-E940-B90A-79FBC444A3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291" y="488601"/>
            <a:ext cx="11511418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GB"/>
              <a:t>Insert slide title</a:t>
            </a:r>
            <a:endParaRPr lang="en-IS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CDAA8F-28BF-F74E-A05E-EF59E623D7E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0291" y="1352550"/>
            <a:ext cx="11484279" cy="50736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A7B48C0-1F88-F749-8540-C0F6142DFADA}"/>
              </a:ext>
            </a:extLst>
          </p:cNvPr>
          <p:cNvSpPr/>
          <p:nvPr userDrawn="1"/>
        </p:nvSpPr>
        <p:spPr>
          <a:xfrm>
            <a:off x="0" y="0"/>
            <a:ext cx="111760" cy="6858000"/>
          </a:xfrm>
          <a:prstGeom prst="rect">
            <a:avLst/>
          </a:prstGeom>
          <a:solidFill>
            <a:srgbClr val="F053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C79CD8C-2338-8142-A026-8595CBCF84B3}"/>
              </a:ext>
            </a:extLst>
          </p:cNvPr>
          <p:cNvCxnSpPr>
            <a:cxnSpLocks/>
          </p:cNvCxnSpPr>
          <p:nvPr userDrawn="1"/>
        </p:nvCxnSpPr>
        <p:spPr>
          <a:xfrm>
            <a:off x="173812" y="0"/>
            <a:ext cx="0" cy="6858000"/>
          </a:xfrm>
          <a:prstGeom prst="line">
            <a:avLst/>
          </a:prstGeom>
          <a:ln>
            <a:solidFill>
              <a:srgbClr val="F4848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phic 9">
            <a:extLst>
              <a:ext uri="{FF2B5EF4-FFF2-40B4-BE49-F238E27FC236}">
                <a16:creationId xmlns:a16="http://schemas.microsoft.com/office/drawing/2014/main" id="{4698900C-4195-4648-91BE-3BFC7C54BA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34471" y="182051"/>
            <a:ext cx="936000" cy="214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347396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S Firs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24">
            <a:extLst>
              <a:ext uri="{FF2B5EF4-FFF2-40B4-BE49-F238E27FC236}">
                <a16:creationId xmlns:a16="http://schemas.microsoft.com/office/drawing/2014/main" id="{F14DCA7F-477F-EC49-BD8F-C3B6AE99007E}"/>
              </a:ext>
            </a:extLst>
          </p:cNvPr>
          <p:cNvSpPr/>
          <p:nvPr userDrawn="1"/>
        </p:nvSpPr>
        <p:spPr>
          <a:xfrm>
            <a:off x="0" y="0"/>
            <a:ext cx="3429000" cy="6858000"/>
          </a:xfrm>
          <a:custGeom>
            <a:avLst/>
            <a:gdLst>
              <a:gd name="connsiteX0" fmla="*/ 0 w 3429000"/>
              <a:gd name="connsiteY0" fmla="*/ 0 h 6858000"/>
              <a:gd name="connsiteX1" fmla="*/ 3429000 w 3429000"/>
              <a:gd name="connsiteY1" fmla="*/ 3429000 h 6858000"/>
              <a:gd name="connsiteX2" fmla="*/ 0 w 3429000"/>
              <a:gd name="connsiteY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29000" h="6858000">
                <a:moveTo>
                  <a:pt x="0" y="0"/>
                </a:moveTo>
                <a:cubicBezTo>
                  <a:pt x="1893784" y="0"/>
                  <a:pt x="3429000" y="1535216"/>
                  <a:pt x="3429000" y="3429000"/>
                </a:cubicBezTo>
                <a:cubicBezTo>
                  <a:pt x="3429000" y="5322784"/>
                  <a:pt x="1893784" y="6858000"/>
                  <a:pt x="0" y="6858000"/>
                </a:cubicBezTo>
                <a:close/>
              </a:path>
            </a:pathLst>
          </a:custGeom>
          <a:solidFill>
            <a:srgbClr val="F053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S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374A81D5-DE12-D748-BFFA-4C4967A5BF1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441325"/>
            <a:ext cx="2987675" cy="5975350"/>
          </a:xfrm>
          <a:custGeom>
            <a:avLst/>
            <a:gdLst>
              <a:gd name="connsiteX0" fmla="*/ 0 w 2546350"/>
              <a:gd name="connsiteY0" fmla="*/ 0 h 5092700"/>
              <a:gd name="connsiteX1" fmla="*/ 2546350 w 2546350"/>
              <a:gd name="connsiteY1" fmla="*/ 2546350 h 5092700"/>
              <a:gd name="connsiteX2" fmla="*/ 0 w 2546350"/>
              <a:gd name="connsiteY2" fmla="*/ 5092700 h 5092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46350" h="5092700">
                <a:moveTo>
                  <a:pt x="0" y="0"/>
                </a:moveTo>
                <a:cubicBezTo>
                  <a:pt x="1406310" y="0"/>
                  <a:pt x="2546350" y="1140040"/>
                  <a:pt x="2546350" y="2546350"/>
                </a:cubicBezTo>
                <a:cubicBezTo>
                  <a:pt x="2546350" y="3952660"/>
                  <a:pt x="1406310" y="5092700"/>
                  <a:pt x="0" y="50927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IS"/>
          </a:p>
        </p:txBody>
      </p:sp>
      <p:sp>
        <p:nvSpPr>
          <p:cNvPr id="29" name="Title Placeholder 12">
            <a:extLst>
              <a:ext uri="{FF2B5EF4-FFF2-40B4-BE49-F238E27FC236}">
                <a16:creationId xmlns:a16="http://schemas.microsoft.com/office/drawing/2014/main" id="{8ED9D5E6-8ADF-D843-853F-B53C0B5301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44800" y="488601"/>
            <a:ext cx="9006909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GB"/>
              <a:t>Insert slide title</a:t>
            </a:r>
            <a:endParaRPr lang="en-I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714C39F3-198E-6B4B-933E-3539119F38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86200" y="1352550"/>
            <a:ext cx="7938370" cy="50736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66022C95-D592-2E16-274F-A15E32DB12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34471" y="182051"/>
            <a:ext cx="936000" cy="214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905767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S Firs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DDC50F77-C5B2-FC4E-B53E-FBF4BB05BD6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11760" y="0"/>
            <a:ext cx="4762640" cy="68580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S"/>
              <a:t>Insert picture</a:t>
            </a:r>
          </a:p>
        </p:txBody>
      </p:sp>
      <p:sp>
        <p:nvSpPr>
          <p:cNvPr id="20" name="Title Placeholder 12">
            <a:extLst>
              <a:ext uri="{FF2B5EF4-FFF2-40B4-BE49-F238E27FC236}">
                <a16:creationId xmlns:a16="http://schemas.microsoft.com/office/drawing/2014/main" id="{A6214D5F-693C-514C-8CF4-BEB12DD3AE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13445" y="488601"/>
            <a:ext cx="6638262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3600"/>
            </a:lvl1pPr>
          </a:lstStyle>
          <a:p>
            <a:r>
              <a:rPr lang="en-GB"/>
              <a:t>Insert slide title</a:t>
            </a:r>
            <a:endParaRPr lang="en-IS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2890AF6C-696E-D043-AD31-40A9110E8A1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13445" y="1352550"/>
            <a:ext cx="6638262" cy="50736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81A9397-DEB3-D749-865A-556A86E66776}"/>
              </a:ext>
            </a:extLst>
          </p:cNvPr>
          <p:cNvSpPr/>
          <p:nvPr userDrawn="1"/>
        </p:nvSpPr>
        <p:spPr>
          <a:xfrm>
            <a:off x="0" y="0"/>
            <a:ext cx="111760" cy="6858000"/>
          </a:xfrm>
          <a:prstGeom prst="rect">
            <a:avLst/>
          </a:prstGeom>
          <a:solidFill>
            <a:srgbClr val="F053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105DCC40-FD4A-B55F-0C25-288CF4E617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34471" y="182051"/>
            <a:ext cx="936000" cy="214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601386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S Firs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8582AF3E-986C-FB4E-81F7-E29E877A773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609114" y="544289"/>
            <a:ext cx="4582886" cy="576942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S"/>
              <a:t>Insert picture</a:t>
            </a:r>
          </a:p>
        </p:txBody>
      </p:sp>
      <p:sp>
        <p:nvSpPr>
          <p:cNvPr id="7" name="Title Placeholder 12">
            <a:extLst>
              <a:ext uri="{FF2B5EF4-FFF2-40B4-BE49-F238E27FC236}">
                <a16:creationId xmlns:a16="http://schemas.microsoft.com/office/drawing/2014/main" id="{6C5E7629-C9F0-B04B-98AB-B647A4074F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290" y="488601"/>
            <a:ext cx="6816055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3600"/>
            </a:lvl1pPr>
          </a:lstStyle>
          <a:p>
            <a:r>
              <a:rPr lang="en-GB"/>
              <a:t>Insert slide title</a:t>
            </a:r>
            <a:endParaRPr lang="en-I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5DD32FD-66BF-7E44-B1A7-D341AC08E35A}"/>
              </a:ext>
            </a:extLst>
          </p:cNvPr>
          <p:cNvSpPr/>
          <p:nvPr userDrawn="1"/>
        </p:nvSpPr>
        <p:spPr>
          <a:xfrm>
            <a:off x="0" y="0"/>
            <a:ext cx="111760" cy="6858000"/>
          </a:xfrm>
          <a:prstGeom prst="rect">
            <a:avLst/>
          </a:prstGeom>
          <a:solidFill>
            <a:srgbClr val="F053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1D85F05-6996-704B-9AEC-863B0CCCFC23}"/>
              </a:ext>
            </a:extLst>
          </p:cNvPr>
          <p:cNvCxnSpPr>
            <a:cxnSpLocks/>
          </p:cNvCxnSpPr>
          <p:nvPr userDrawn="1"/>
        </p:nvCxnSpPr>
        <p:spPr>
          <a:xfrm>
            <a:off x="173812" y="0"/>
            <a:ext cx="0" cy="6858000"/>
          </a:xfrm>
          <a:prstGeom prst="line">
            <a:avLst/>
          </a:prstGeom>
          <a:ln>
            <a:solidFill>
              <a:srgbClr val="F4848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phic 9">
            <a:extLst>
              <a:ext uri="{FF2B5EF4-FFF2-40B4-BE49-F238E27FC236}">
                <a16:creationId xmlns:a16="http://schemas.microsoft.com/office/drawing/2014/main" id="{8B739D32-33B0-0BC0-D266-B998ECD162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34471" y="182051"/>
            <a:ext cx="936000" cy="214678"/>
          </a:xfrm>
          <a:prstGeom prst="rect">
            <a:avLst/>
          </a:prstGeom>
        </p:spPr>
      </p:pic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EF07EA9E-F3EE-1212-6A8E-1B45F410EDB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0290" y="1352550"/>
            <a:ext cx="6816054" cy="49611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S"/>
          </a:p>
        </p:txBody>
      </p:sp>
    </p:spTree>
    <p:extLst>
      <p:ext uri="{BB962C8B-B14F-4D97-AF65-F5344CB8AC3E}">
        <p14:creationId xmlns:p14="http://schemas.microsoft.com/office/powerpoint/2010/main" val="32435262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S First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03FC60F7-914B-007E-C7DF-1C2CA4A755E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34471" y="182051"/>
            <a:ext cx="936000" cy="214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18066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/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2">
            <a:extLst>
              <a:ext uri="{FF2B5EF4-FFF2-40B4-BE49-F238E27FC236}">
                <a16:creationId xmlns:a16="http://schemas.microsoft.com/office/drawing/2014/main" id="{C297E935-941E-9C2F-563D-E91D013A6E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291" y="488601"/>
            <a:ext cx="9444644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>
                <a:solidFill>
                  <a:srgbClr val="F6C370"/>
                </a:solidFill>
              </a:defRPr>
            </a:lvl1pPr>
          </a:lstStyle>
          <a:p>
            <a:r>
              <a:rPr lang="en-GB"/>
              <a:t>Insert title</a:t>
            </a:r>
            <a:endParaRPr lang="en-I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9C23583-BBD0-A2D8-FBC2-A8930216CC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0291" y="1419225"/>
            <a:ext cx="7667118" cy="4673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S"/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3693C68B-963A-4A71-9ABC-F3D44ED76C6A}"/>
              </a:ext>
            </a:extLst>
          </p:cNvPr>
          <p:cNvSpPr/>
          <p:nvPr userDrawn="1"/>
        </p:nvSpPr>
        <p:spPr>
          <a:xfrm flipH="1">
            <a:off x="7798859" y="2469734"/>
            <a:ext cx="4393140" cy="4393139"/>
          </a:xfrm>
          <a:custGeom>
            <a:avLst/>
            <a:gdLst>
              <a:gd name="connsiteX0" fmla="*/ 0 w 5369483"/>
              <a:gd name="connsiteY0" fmla="*/ 0 h 5369482"/>
              <a:gd name="connsiteX1" fmla="*/ 5369483 w 5369483"/>
              <a:gd name="connsiteY1" fmla="*/ 5369482 h 5369482"/>
              <a:gd name="connsiteX2" fmla="*/ 2251404 w 5369483"/>
              <a:gd name="connsiteY2" fmla="*/ 5369482 h 5369482"/>
              <a:gd name="connsiteX3" fmla="*/ 0 w 5369483"/>
              <a:gd name="connsiteY3" fmla="*/ 3118079 h 53694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69483" h="5369482">
                <a:moveTo>
                  <a:pt x="0" y="0"/>
                </a:moveTo>
                <a:lnTo>
                  <a:pt x="5369483" y="5369482"/>
                </a:lnTo>
                <a:lnTo>
                  <a:pt x="2251404" y="5369482"/>
                </a:lnTo>
                <a:lnTo>
                  <a:pt x="0" y="3118079"/>
                </a:lnTo>
                <a:close/>
              </a:path>
            </a:pathLst>
          </a:custGeom>
          <a:solidFill>
            <a:srgbClr val="29B4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473C5EEF-A015-C555-A3A3-969AB1ADE4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065064" y="176833"/>
            <a:ext cx="1966516" cy="809741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7111868-D038-7F36-D312-2D4C785095ED}"/>
              </a:ext>
            </a:extLst>
          </p:cNvPr>
          <p:cNvCxnSpPr>
            <a:cxnSpLocks/>
          </p:cNvCxnSpPr>
          <p:nvPr userDrawn="1"/>
        </p:nvCxnSpPr>
        <p:spPr>
          <a:xfrm flipH="1">
            <a:off x="7609474" y="3495230"/>
            <a:ext cx="3362771" cy="3362770"/>
          </a:xfrm>
          <a:prstGeom prst="line">
            <a:avLst/>
          </a:prstGeom>
          <a:ln w="9525">
            <a:solidFill>
              <a:srgbClr val="F6C3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E5D5313-2DAA-3F9F-09F9-5CA20372B46E}"/>
              </a:ext>
            </a:extLst>
          </p:cNvPr>
          <p:cNvCxnSpPr>
            <a:cxnSpLocks/>
          </p:cNvCxnSpPr>
          <p:nvPr userDrawn="1"/>
        </p:nvCxnSpPr>
        <p:spPr>
          <a:xfrm flipH="1">
            <a:off x="11391544" y="5204389"/>
            <a:ext cx="785657" cy="785657"/>
          </a:xfrm>
          <a:prstGeom prst="line">
            <a:avLst/>
          </a:prstGeom>
          <a:ln w="9525">
            <a:solidFill>
              <a:srgbClr val="F6C3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800827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S Expres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2">
            <a:extLst>
              <a:ext uri="{FF2B5EF4-FFF2-40B4-BE49-F238E27FC236}">
                <a16:creationId xmlns:a16="http://schemas.microsoft.com/office/drawing/2014/main" id="{64D9D044-A701-E940-B90A-79FBC444A3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291" y="488601"/>
            <a:ext cx="11511418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GB"/>
              <a:t>Insert slide title</a:t>
            </a:r>
            <a:endParaRPr lang="en-IS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CDAA8F-28BF-F74E-A05E-EF59E623D7E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0291" y="1352550"/>
            <a:ext cx="11484279" cy="50736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A7B48C0-1F88-F749-8540-C0F6142DFADA}"/>
              </a:ext>
            </a:extLst>
          </p:cNvPr>
          <p:cNvSpPr/>
          <p:nvPr userDrawn="1"/>
        </p:nvSpPr>
        <p:spPr>
          <a:xfrm>
            <a:off x="0" y="0"/>
            <a:ext cx="111760" cy="6858000"/>
          </a:xfrm>
          <a:prstGeom prst="rect">
            <a:avLst/>
          </a:prstGeom>
          <a:solidFill>
            <a:srgbClr val="E47D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C79CD8C-2338-8142-A026-8595CBCF84B3}"/>
              </a:ext>
            </a:extLst>
          </p:cNvPr>
          <p:cNvCxnSpPr>
            <a:cxnSpLocks/>
          </p:cNvCxnSpPr>
          <p:nvPr userDrawn="1"/>
        </p:nvCxnSpPr>
        <p:spPr>
          <a:xfrm>
            <a:off x="173812" y="0"/>
            <a:ext cx="0" cy="6858000"/>
          </a:xfrm>
          <a:prstGeom prst="line">
            <a:avLst/>
          </a:prstGeom>
          <a:ln>
            <a:solidFill>
              <a:srgbClr val="F2A35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80D89CA1-3AC3-B24B-B36D-9C10920E98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743591" y="182395"/>
            <a:ext cx="1226880" cy="213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968728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S Expres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24">
            <a:extLst>
              <a:ext uri="{FF2B5EF4-FFF2-40B4-BE49-F238E27FC236}">
                <a16:creationId xmlns:a16="http://schemas.microsoft.com/office/drawing/2014/main" id="{F14DCA7F-477F-EC49-BD8F-C3B6AE99007E}"/>
              </a:ext>
            </a:extLst>
          </p:cNvPr>
          <p:cNvSpPr/>
          <p:nvPr userDrawn="1"/>
        </p:nvSpPr>
        <p:spPr>
          <a:xfrm>
            <a:off x="0" y="0"/>
            <a:ext cx="3429000" cy="6858000"/>
          </a:xfrm>
          <a:custGeom>
            <a:avLst/>
            <a:gdLst>
              <a:gd name="connsiteX0" fmla="*/ 0 w 3429000"/>
              <a:gd name="connsiteY0" fmla="*/ 0 h 6858000"/>
              <a:gd name="connsiteX1" fmla="*/ 3429000 w 3429000"/>
              <a:gd name="connsiteY1" fmla="*/ 3429000 h 6858000"/>
              <a:gd name="connsiteX2" fmla="*/ 0 w 3429000"/>
              <a:gd name="connsiteY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29000" h="6858000">
                <a:moveTo>
                  <a:pt x="0" y="0"/>
                </a:moveTo>
                <a:cubicBezTo>
                  <a:pt x="1893784" y="0"/>
                  <a:pt x="3429000" y="1535216"/>
                  <a:pt x="3429000" y="3429000"/>
                </a:cubicBezTo>
                <a:cubicBezTo>
                  <a:pt x="3429000" y="5322784"/>
                  <a:pt x="1893784" y="6858000"/>
                  <a:pt x="0" y="6858000"/>
                </a:cubicBezTo>
                <a:close/>
              </a:path>
            </a:pathLst>
          </a:custGeom>
          <a:solidFill>
            <a:srgbClr val="E47D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S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374A81D5-DE12-D748-BFFA-4C4967A5BF1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441325"/>
            <a:ext cx="2987675" cy="5975350"/>
          </a:xfrm>
          <a:custGeom>
            <a:avLst/>
            <a:gdLst>
              <a:gd name="connsiteX0" fmla="*/ 0 w 2546350"/>
              <a:gd name="connsiteY0" fmla="*/ 0 h 5092700"/>
              <a:gd name="connsiteX1" fmla="*/ 2546350 w 2546350"/>
              <a:gd name="connsiteY1" fmla="*/ 2546350 h 5092700"/>
              <a:gd name="connsiteX2" fmla="*/ 0 w 2546350"/>
              <a:gd name="connsiteY2" fmla="*/ 5092700 h 5092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46350" h="5092700">
                <a:moveTo>
                  <a:pt x="0" y="0"/>
                </a:moveTo>
                <a:cubicBezTo>
                  <a:pt x="1406310" y="0"/>
                  <a:pt x="2546350" y="1140040"/>
                  <a:pt x="2546350" y="2546350"/>
                </a:cubicBezTo>
                <a:cubicBezTo>
                  <a:pt x="2546350" y="3952660"/>
                  <a:pt x="1406310" y="5092700"/>
                  <a:pt x="0" y="50927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IS"/>
          </a:p>
        </p:txBody>
      </p:sp>
      <p:sp>
        <p:nvSpPr>
          <p:cNvPr id="29" name="Title Placeholder 12">
            <a:extLst>
              <a:ext uri="{FF2B5EF4-FFF2-40B4-BE49-F238E27FC236}">
                <a16:creationId xmlns:a16="http://schemas.microsoft.com/office/drawing/2014/main" id="{8ED9D5E6-8ADF-D843-853F-B53C0B5301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44800" y="488601"/>
            <a:ext cx="9006909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GB"/>
              <a:t>Insert slide title</a:t>
            </a:r>
            <a:endParaRPr lang="en-I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714C39F3-198E-6B4B-933E-3539119F38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86200" y="1352550"/>
            <a:ext cx="7938370" cy="50736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96DE2854-8547-45BC-0FC8-7EA7F2AE03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743591" y="182395"/>
            <a:ext cx="1226880" cy="213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627790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S Expres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DDC50F77-C5B2-FC4E-B53E-FBF4BB05BD6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11760" y="0"/>
            <a:ext cx="4762640" cy="68580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S"/>
              <a:t>Insert picture</a:t>
            </a:r>
          </a:p>
        </p:txBody>
      </p:sp>
      <p:sp>
        <p:nvSpPr>
          <p:cNvPr id="20" name="Title Placeholder 12">
            <a:extLst>
              <a:ext uri="{FF2B5EF4-FFF2-40B4-BE49-F238E27FC236}">
                <a16:creationId xmlns:a16="http://schemas.microsoft.com/office/drawing/2014/main" id="{A6214D5F-693C-514C-8CF4-BEB12DD3AE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13445" y="488601"/>
            <a:ext cx="6638262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3600"/>
            </a:lvl1pPr>
          </a:lstStyle>
          <a:p>
            <a:r>
              <a:rPr lang="en-GB"/>
              <a:t>Insert slide title</a:t>
            </a:r>
            <a:endParaRPr lang="en-IS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2890AF6C-696E-D043-AD31-40A9110E8A1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13445" y="1352550"/>
            <a:ext cx="6638262" cy="50736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81A9397-DEB3-D749-865A-556A86E66776}"/>
              </a:ext>
            </a:extLst>
          </p:cNvPr>
          <p:cNvSpPr/>
          <p:nvPr userDrawn="1"/>
        </p:nvSpPr>
        <p:spPr>
          <a:xfrm>
            <a:off x="0" y="0"/>
            <a:ext cx="111760" cy="6858000"/>
          </a:xfrm>
          <a:prstGeom prst="rect">
            <a:avLst/>
          </a:prstGeom>
          <a:solidFill>
            <a:srgbClr val="E47D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2DF5CBD-0015-C5D0-E388-FAB9DFC839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743591" y="182395"/>
            <a:ext cx="1226880" cy="213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260772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S Express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8582AF3E-986C-FB4E-81F7-E29E877A773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609114" y="544289"/>
            <a:ext cx="4582886" cy="576942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S"/>
              <a:t>Insert picture</a:t>
            </a:r>
          </a:p>
        </p:txBody>
      </p:sp>
      <p:sp>
        <p:nvSpPr>
          <p:cNvPr id="7" name="Title Placeholder 12">
            <a:extLst>
              <a:ext uri="{FF2B5EF4-FFF2-40B4-BE49-F238E27FC236}">
                <a16:creationId xmlns:a16="http://schemas.microsoft.com/office/drawing/2014/main" id="{6C5E7629-C9F0-B04B-98AB-B647A4074F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290" y="488601"/>
            <a:ext cx="6816055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3600"/>
            </a:lvl1pPr>
          </a:lstStyle>
          <a:p>
            <a:r>
              <a:rPr lang="en-GB"/>
              <a:t>Insert slide title</a:t>
            </a:r>
            <a:endParaRPr lang="en-I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5DD32FD-66BF-7E44-B1A7-D341AC08E35A}"/>
              </a:ext>
            </a:extLst>
          </p:cNvPr>
          <p:cNvSpPr/>
          <p:nvPr userDrawn="1"/>
        </p:nvSpPr>
        <p:spPr>
          <a:xfrm>
            <a:off x="0" y="0"/>
            <a:ext cx="111760" cy="6858000"/>
          </a:xfrm>
          <a:prstGeom prst="rect">
            <a:avLst/>
          </a:prstGeom>
          <a:solidFill>
            <a:srgbClr val="E47D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1D85F05-6996-704B-9AEC-863B0CCCFC23}"/>
              </a:ext>
            </a:extLst>
          </p:cNvPr>
          <p:cNvCxnSpPr>
            <a:cxnSpLocks/>
          </p:cNvCxnSpPr>
          <p:nvPr userDrawn="1"/>
        </p:nvCxnSpPr>
        <p:spPr>
          <a:xfrm>
            <a:off x="173812" y="0"/>
            <a:ext cx="0" cy="6858000"/>
          </a:xfrm>
          <a:prstGeom prst="line">
            <a:avLst/>
          </a:prstGeom>
          <a:ln>
            <a:solidFill>
              <a:srgbClr val="F2A35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phic 8">
            <a:extLst>
              <a:ext uri="{FF2B5EF4-FFF2-40B4-BE49-F238E27FC236}">
                <a16:creationId xmlns:a16="http://schemas.microsoft.com/office/drawing/2014/main" id="{21364075-67F8-0499-DB64-26363AEDBD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743591" y="182395"/>
            <a:ext cx="1226880" cy="213990"/>
          </a:xfrm>
          <a:prstGeom prst="rect">
            <a:avLst/>
          </a:prstGeom>
        </p:spPr>
      </p:pic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148E19D-63D5-4A99-0934-1EC6ADF9E84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0290" y="1352550"/>
            <a:ext cx="6816054" cy="49611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S"/>
          </a:p>
        </p:txBody>
      </p:sp>
    </p:spTree>
    <p:extLst>
      <p:ext uri="{BB962C8B-B14F-4D97-AF65-F5344CB8AC3E}">
        <p14:creationId xmlns:p14="http://schemas.microsoft.com/office/powerpoint/2010/main" val="408425960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S Express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58C23E2F-20C6-393E-AA59-6FBBF7D75A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743591" y="182395"/>
            <a:ext cx="1226880" cy="213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072753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S Centra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2">
            <a:extLst>
              <a:ext uri="{FF2B5EF4-FFF2-40B4-BE49-F238E27FC236}">
                <a16:creationId xmlns:a16="http://schemas.microsoft.com/office/drawing/2014/main" id="{64D9D044-A701-E940-B90A-79FBC444A3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291" y="488601"/>
            <a:ext cx="11511418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>
                <a:solidFill>
                  <a:srgbClr val="361D5C"/>
                </a:solidFill>
              </a:defRPr>
            </a:lvl1pPr>
          </a:lstStyle>
          <a:p>
            <a:r>
              <a:rPr lang="en-GB"/>
              <a:t>Insert slide title</a:t>
            </a:r>
            <a:endParaRPr lang="en-IS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CDAA8F-28BF-F74E-A05E-EF59E623D7E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0291" y="1352550"/>
            <a:ext cx="11484279" cy="50736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3138DB38-5290-8E4B-BE35-A79902F8CF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778151" y="182167"/>
            <a:ext cx="1192319" cy="214446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4A7B48C0-1F88-F749-8540-C0F6142DFADA}"/>
              </a:ext>
            </a:extLst>
          </p:cNvPr>
          <p:cNvSpPr/>
          <p:nvPr userDrawn="1"/>
        </p:nvSpPr>
        <p:spPr>
          <a:xfrm>
            <a:off x="0" y="0"/>
            <a:ext cx="111760" cy="6858000"/>
          </a:xfrm>
          <a:prstGeom prst="rect">
            <a:avLst/>
          </a:prstGeom>
          <a:solidFill>
            <a:srgbClr val="1388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C79CD8C-2338-8142-A026-8595CBCF84B3}"/>
              </a:ext>
            </a:extLst>
          </p:cNvPr>
          <p:cNvCxnSpPr>
            <a:cxnSpLocks/>
          </p:cNvCxnSpPr>
          <p:nvPr userDrawn="1"/>
        </p:nvCxnSpPr>
        <p:spPr>
          <a:xfrm>
            <a:off x="173812" y="0"/>
            <a:ext cx="0" cy="6858000"/>
          </a:xfrm>
          <a:prstGeom prst="line">
            <a:avLst/>
          </a:prstGeom>
          <a:ln>
            <a:solidFill>
              <a:srgbClr val="8ED6E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396001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S Centra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24">
            <a:extLst>
              <a:ext uri="{FF2B5EF4-FFF2-40B4-BE49-F238E27FC236}">
                <a16:creationId xmlns:a16="http://schemas.microsoft.com/office/drawing/2014/main" id="{F14DCA7F-477F-EC49-BD8F-C3B6AE99007E}"/>
              </a:ext>
            </a:extLst>
          </p:cNvPr>
          <p:cNvSpPr/>
          <p:nvPr userDrawn="1"/>
        </p:nvSpPr>
        <p:spPr>
          <a:xfrm>
            <a:off x="0" y="0"/>
            <a:ext cx="3429000" cy="6858000"/>
          </a:xfrm>
          <a:custGeom>
            <a:avLst/>
            <a:gdLst>
              <a:gd name="connsiteX0" fmla="*/ 0 w 3429000"/>
              <a:gd name="connsiteY0" fmla="*/ 0 h 6858000"/>
              <a:gd name="connsiteX1" fmla="*/ 3429000 w 3429000"/>
              <a:gd name="connsiteY1" fmla="*/ 3429000 h 6858000"/>
              <a:gd name="connsiteX2" fmla="*/ 0 w 3429000"/>
              <a:gd name="connsiteY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29000" h="6858000">
                <a:moveTo>
                  <a:pt x="0" y="0"/>
                </a:moveTo>
                <a:cubicBezTo>
                  <a:pt x="1893784" y="0"/>
                  <a:pt x="3429000" y="1535216"/>
                  <a:pt x="3429000" y="3429000"/>
                </a:cubicBezTo>
                <a:cubicBezTo>
                  <a:pt x="3429000" y="5322784"/>
                  <a:pt x="1893784" y="6858000"/>
                  <a:pt x="0" y="6858000"/>
                </a:cubicBezTo>
                <a:close/>
              </a:path>
            </a:pathLst>
          </a:custGeom>
          <a:solidFill>
            <a:srgbClr val="1388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S">
              <a:solidFill>
                <a:srgbClr val="323133"/>
              </a:solidFill>
            </a:endParaRPr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374A81D5-DE12-D748-BFFA-4C4967A5BF1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441325"/>
            <a:ext cx="2987675" cy="5975350"/>
          </a:xfrm>
          <a:custGeom>
            <a:avLst/>
            <a:gdLst>
              <a:gd name="connsiteX0" fmla="*/ 0 w 2546350"/>
              <a:gd name="connsiteY0" fmla="*/ 0 h 5092700"/>
              <a:gd name="connsiteX1" fmla="*/ 2546350 w 2546350"/>
              <a:gd name="connsiteY1" fmla="*/ 2546350 h 5092700"/>
              <a:gd name="connsiteX2" fmla="*/ 0 w 2546350"/>
              <a:gd name="connsiteY2" fmla="*/ 5092700 h 5092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46350" h="5092700">
                <a:moveTo>
                  <a:pt x="0" y="0"/>
                </a:moveTo>
                <a:cubicBezTo>
                  <a:pt x="1406310" y="0"/>
                  <a:pt x="2546350" y="1140040"/>
                  <a:pt x="2546350" y="2546350"/>
                </a:cubicBezTo>
                <a:cubicBezTo>
                  <a:pt x="2546350" y="3952660"/>
                  <a:pt x="1406310" y="5092700"/>
                  <a:pt x="0" y="50927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>
                <a:solidFill>
                  <a:srgbClr val="323133"/>
                </a:solidFill>
              </a:defRPr>
            </a:lvl1pPr>
          </a:lstStyle>
          <a:p>
            <a:endParaRPr lang="en-IS"/>
          </a:p>
        </p:txBody>
      </p:sp>
      <p:sp>
        <p:nvSpPr>
          <p:cNvPr id="29" name="Title Placeholder 12">
            <a:extLst>
              <a:ext uri="{FF2B5EF4-FFF2-40B4-BE49-F238E27FC236}">
                <a16:creationId xmlns:a16="http://schemas.microsoft.com/office/drawing/2014/main" id="{8ED9D5E6-8ADF-D843-853F-B53C0B5301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44800" y="488601"/>
            <a:ext cx="9006909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>
                <a:solidFill>
                  <a:srgbClr val="361D5C"/>
                </a:solidFill>
              </a:defRPr>
            </a:lvl1pPr>
          </a:lstStyle>
          <a:p>
            <a:r>
              <a:rPr lang="en-GB"/>
              <a:t>Insert slide title</a:t>
            </a:r>
            <a:endParaRPr lang="en-I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714C39F3-198E-6B4B-933E-3539119F38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86200" y="1352550"/>
            <a:ext cx="7938370" cy="50736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43DBE5FD-79C5-FF75-FED6-59BD4F2673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778151" y="182167"/>
            <a:ext cx="1192319" cy="214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683714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S Central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DDC50F77-C5B2-FC4E-B53E-FBF4BB05BD6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11760" y="0"/>
            <a:ext cx="4762640" cy="68580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S"/>
              <a:t>Insert picture</a:t>
            </a:r>
          </a:p>
        </p:txBody>
      </p:sp>
      <p:sp>
        <p:nvSpPr>
          <p:cNvPr id="20" name="Title Placeholder 12">
            <a:extLst>
              <a:ext uri="{FF2B5EF4-FFF2-40B4-BE49-F238E27FC236}">
                <a16:creationId xmlns:a16="http://schemas.microsoft.com/office/drawing/2014/main" id="{A6214D5F-693C-514C-8CF4-BEB12DD3AE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13445" y="488601"/>
            <a:ext cx="6638262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3600">
                <a:solidFill>
                  <a:srgbClr val="361D5C"/>
                </a:solidFill>
              </a:defRPr>
            </a:lvl1pPr>
          </a:lstStyle>
          <a:p>
            <a:r>
              <a:rPr lang="en-GB"/>
              <a:t>Insert slide title</a:t>
            </a:r>
            <a:endParaRPr lang="en-IS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2890AF6C-696E-D043-AD31-40A9110E8A1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13445" y="1352550"/>
            <a:ext cx="6638262" cy="50736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81A9397-DEB3-D749-865A-556A86E66776}"/>
              </a:ext>
            </a:extLst>
          </p:cNvPr>
          <p:cNvSpPr/>
          <p:nvPr userDrawn="1"/>
        </p:nvSpPr>
        <p:spPr>
          <a:xfrm>
            <a:off x="0" y="0"/>
            <a:ext cx="111760" cy="6858000"/>
          </a:xfrm>
          <a:prstGeom prst="rect">
            <a:avLst/>
          </a:prstGeom>
          <a:solidFill>
            <a:srgbClr val="1388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48C9E10E-7FC2-7904-432A-C9DB2B5CB4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778151" y="182167"/>
            <a:ext cx="1192319" cy="214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676402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S Central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8582AF3E-986C-FB4E-81F7-E29E877A773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609114" y="544289"/>
            <a:ext cx="4582886" cy="576942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S"/>
              <a:t>Insert pictur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922FECE6-2948-0E42-889E-AB3276D7C1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0290" y="1352550"/>
            <a:ext cx="6816054" cy="49611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S"/>
          </a:p>
        </p:txBody>
      </p:sp>
      <p:sp>
        <p:nvSpPr>
          <p:cNvPr id="7" name="Title Placeholder 12">
            <a:extLst>
              <a:ext uri="{FF2B5EF4-FFF2-40B4-BE49-F238E27FC236}">
                <a16:creationId xmlns:a16="http://schemas.microsoft.com/office/drawing/2014/main" id="{6C5E7629-C9F0-B04B-98AB-B647A4074F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290" y="488601"/>
            <a:ext cx="6816055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3600">
                <a:solidFill>
                  <a:srgbClr val="361D5C"/>
                </a:solidFill>
              </a:defRPr>
            </a:lvl1pPr>
          </a:lstStyle>
          <a:p>
            <a:r>
              <a:rPr lang="en-GB"/>
              <a:t>Insert slide title</a:t>
            </a:r>
            <a:endParaRPr lang="en-I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5DD32FD-66BF-7E44-B1A7-D341AC08E35A}"/>
              </a:ext>
            </a:extLst>
          </p:cNvPr>
          <p:cNvSpPr/>
          <p:nvPr userDrawn="1"/>
        </p:nvSpPr>
        <p:spPr>
          <a:xfrm>
            <a:off x="0" y="0"/>
            <a:ext cx="111760" cy="6858000"/>
          </a:xfrm>
          <a:prstGeom prst="rect">
            <a:avLst/>
          </a:prstGeom>
          <a:solidFill>
            <a:srgbClr val="1388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1D85F05-6996-704B-9AEC-863B0CCCFC23}"/>
              </a:ext>
            </a:extLst>
          </p:cNvPr>
          <p:cNvCxnSpPr>
            <a:cxnSpLocks/>
          </p:cNvCxnSpPr>
          <p:nvPr userDrawn="1"/>
        </p:nvCxnSpPr>
        <p:spPr>
          <a:xfrm>
            <a:off x="173812" y="0"/>
            <a:ext cx="0" cy="6858000"/>
          </a:xfrm>
          <a:prstGeom prst="line">
            <a:avLst/>
          </a:prstGeom>
          <a:ln>
            <a:solidFill>
              <a:srgbClr val="8ED6E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1BF65061-E009-2280-21BA-6A751A6CBF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778151" y="182167"/>
            <a:ext cx="1192319" cy="214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684965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S Central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1BF65061-E009-2280-21BA-6A751A6CBF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778151" y="182167"/>
            <a:ext cx="1192319" cy="214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41330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Chapt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E4A9DCC3-E8D7-C445-85E9-C6F9EC110461}"/>
              </a:ext>
            </a:extLst>
          </p:cNvPr>
          <p:cNvSpPr/>
          <p:nvPr userDrawn="1"/>
        </p:nvSpPr>
        <p:spPr>
          <a:xfrm rot="8100000">
            <a:off x="3886857" y="1415805"/>
            <a:ext cx="4418286" cy="4418286"/>
          </a:xfrm>
          <a:prstGeom prst="rect">
            <a:avLst/>
          </a:prstGeom>
          <a:gradFill>
            <a:gsLst>
              <a:gs pos="100000">
                <a:srgbClr val="361D5C">
                  <a:alpha val="0"/>
                </a:srgbClr>
              </a:gs>
              <a:gs pos="0">
                <a:srgbClr val="361D5C">
                  <a:alpha val="0"/>
                </a:srgbClr>
              </a:gs>
              <a:gs pos="50000">
                <a:srgbClr val="361D5C">
                  <a:alpha val="50188"/>
                </a:srgbClr>
              </a:gs>
            </a:gsLst>
            <a:lin ang="81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C661F3E-648B-5740-9E11-DC433187044F}"/>
              </a:ext>
            </a:extLst>
          </p:cNvPr>
          <p:cNvSpPr/>
          <p:nvPr userDrawn="1"/>
        </p:nvSpPr>
        <p:spPr>
          <a:xfrm rot="13500000">
            <a:off x="1410758" y="1111004"/>
            <a:ext cx="4418286" cy="4418286"/>
          </a:xfrm>
          <a:prstGeom prst="rect">
            <a:avLst/>
          </a:prstGeom>
          <a:gradFill>
            <a:gsLst>
              <a:gs pos="100000">
                <a:srgbClr val="361D5C">
                  <a:alpha val="0"/>
                </a:srgbClr>
              </a:gs>
              <a:gs pos="0">
                <a:srgbClr val="361D5C">
                  <a:alpha val="0"/>
                </a:srgbClr>
              </a:gs>
              <a:gs pos="50000">
                <a:srgbClr val="361D5C">
                  <a:alpha val="49617"/>
                </a:srgbClr>
              </a:gs>
            </a:gsLst>
            <a:lin ang="81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CE0B896-631A-C948-B929-910A701FAD6F}"/>
              </a:ext>
            </a:extLst>
          </p:cNvPr>
          <p:cNvSpPr/>
          <p:nvPr userDrawn="1"/>
        </p:nvSpPr>
        <p:spPr>
          <a:xfrm rot="13500000">
            <a:off x="6362956" y="1111004"/>
            <a:ext cx="4418286" cy="4418286"/>
          </a:xfrm>
          <a:prstGeom prst="rect">
            <a:avLst/>
          </a:prstGeom>
          <a:gradFill>
            <a:gsLst>
              <a:gs pos="100000">
                <a:srgbClr val="361D5C">
                  <a:alpha val="0"/>
                </a:srgbClr>
              </a:gs>
              <a:gs pos="0">
                <a:srgbClr val="361D5C">
                  <a:alpha val="0"/>
                </a:srgbClr>
              </a:gs>
              <a:gs pos="50000">
                <a:srgbClr val="361D5C">
                  <a:alpha val="49419"/>
                </a:srgbClr>
              </a:gs>
            </a:gsLst>
            <a:lin ang="81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8F0458-666E-B242-AA9B-31C770B5EB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36601" y="2836191"/>
            <a:ext cx="10718799" cy="118562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4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Insert title</a:t>
            </a:r>
            <a:endParaRPr lang="en-I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5908F9F-CF4A-EE46-A4B1-7A9A1E3B8B7E}"/>
              </a:ext>
            </a:extLst>
          </p:cNvPr>
          <p:cNvCxnSpPr/>
          <p:nvPr userDrawn="1"/>
        </p:nvCxnSpPr>
        <p:spPr>
          <a:xfrm>
            <a:off x="5181600" y="1761223"/>
            <a:ext cx="914400" cy="914400"/>
          </a:xfrm>
          <a:prstGeom prst="line">
            <a:avLst/>
          </a:prstGeom>
          <a:ln>
            <a:gradFill>
              <a:gsLst>
                <a:gs pos="0">
                  <a:srgbClr val="F6C370">
                    <a:alpha val="0"/>
                  </a:srgbClr>
                </a:gs>
                <a:gs pos="99000">
                  <a:srgbClr val="F6C370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0042CFF-054F-7944-83F4-1B876D680DE6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6000" y="195948"/>
            <a:ext cx="2479675" cy="2479675"/>
          </a:xfrm>
          <a:prstGeom prst="line">
            <a:avLst/>
          </a:prstGeom>
          <a:ln>
            <a:gradFill>
              <a:gsLst>
                <a:gs pos="0">
                  <a:srgbClr val="F6C370">
                    <a:alpha val="0"/>
                  </a:srgbClr>
                </a:gs>
                <a:gs pos="100000">
                  <a:srgbClr val="F6C370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54E7318-290F-804F-A213-55E78B5F26C0}"/>
              </a:ext>
            </a:extLst>
          </p:cNvPr>
          <p:cNvCxnSpPr>
            <a:cxnSpLocks/>
          </p:cNvCxnSpPr>
          <p:nvPr userDrawn="1"/>
        </p:nvCxnSpPr>
        <p:spPr>
          <a:xfrm>
            <a:off x="4718094" y="5348611"/>
            <a:ext cx="457200" cy="457200"/>
          </a:xfrm>
          <a:prstGeom prst="line">
            <a:avLst/>
          </a:prstGeom>
          <a:ln>
            <a:gradFill>
              <a:gsLst>
                <a:gs pos="0">
                  <a:srgbClr val="F6C370"/>
                </a:gs>
                <a:gs pos="100000">
                  <a:srgbClr val="F6C370">
                    <a:alpha val="0"/>
                  </a:srgb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067B4A9-8EE8-D347-A11A-408131288CDC}"/>
              </a:ext>
            </a:extLst>
          </p:cNvPr>
          <p:cNvCxnSpPr>
            <a:cxnSpLocks/>
          </p:cNvCxnSpPr>
          <p:nvPr userDrawn="1"/>
        </p:nvCxnSpPr>
        <p:spPr>
          <a:xfrm flipH="1">
            <a:off x="7897368" y="4649076"/>
            <a:ext cx="2479675" cy="2479675"/>
          </a:xfrm>
          <a:prstGeom prst="line">
            <a:avLst/>
          </a:prstGeom>
          <a:ln>
            <a:gradFill>
              <a:gsLst>
                <a:gs pos="0">
                  <a:srgbClr val="F6C370">
                    <a:alpha val="0"/>
                  </a:srgbClr>
                </a:gs>
                <a:gs pos="99000">
                  <a:srgbClr val="F6C370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767C67B9-5ED3-1347-A4EF-E127B283F0FD}"/>
              </a:ext>
            </a:extLst>
          </p:cNvPr>
          <p:cNvCxnSpPr>
            <a:cxnSpLocks/>
          </p:cNvCxnSpPr>
          <p:nvPr userDrawn="1"/>
        </p:nvCxnSpPr>
        <p:spPr>
          <a:xfrm flipH="1">
            <a:off x="1848335" y="195948"/>
            <a:ext cx="1772290" cy="1772290"/>
          </a:xfrm>
          <a:prstGeom prst="line">
            <a:avLst/>
          </a:prstGeom>
          <a:ln>
            <a:gradFill>
              <a:gsLst>
                <a:gs pos="99000">
                  <a:srgbClr val="F6C370">
                    <a:alpha val="0"/>
                  </a:srgbClr>
                </a:gs>
                <a:gs pos="0">
                  <a:srgbClr val="F6C370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1BB83C5D-63B4-D04E-B9A2-0530B8F968A5}"/>
              </a:ext>
            </a:extLst>
          </p:cNvPr>
          <p:cNvCxnSpPr>
            <a:cxnSpLocks/>
          </p:cNvCxnSpPr>
          <p:nvPr userDrawn="1"/>
        </p:nvCxnSpPr>
        <p:spPr>
          <a:xfrm flipV="1">
            <a:off x="3628716" y="5348612"/>
            <a:ext cx="1089377" cy="1089377"/>
          </a:xfrm>
          <a:prstGeom prst="line">
            <a:avLst/>
          </a:prstGeom>
          <a:ln>
            <a:gradFill>
              <a:gsLst>
                <a:gs pos="0">
                  <a:srgbClr val="F6C370">
                    <a:alpha val="0"/>
                  </a:srgbClr>
                </a:gs>
                <a:gs pos="99000">
                  <a:srgbClr val="F6C370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Graphic 23">
            <a:extLst>
              <a:ext uri="{FF2B5EF4-FFF2-40B4-BE49-F238E27FC236}">
                <a16:creationId xmlns:a16="http://schemas.microsoft.com/office/drawing/2014/main" id="{2442B894-80B9-CF46-9923-AA26009B51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813959" y="394661"/>
            <a:ext cx="2564084" cy="1055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439721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S Firs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2">
            <a:extLst>
              <a:ext uri="{FF2B5EF4-FFF2-40B4-BE49-F238E27FC236}">
                <a16:creationId xmlns:a16="http://schemas.microsoft.com/office/drawing/2014/main" id="{64D9D044-A701-E940-B90A-79FBC444A3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291" y="488601"/>
            <a:ext cx="11511418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>
                <a:solidFill>
                  <a:srgbClr val="361D5C"/>
                </a:solidFill>
              </a:defRPr>
            </a:lvl1pPr>
          </a:lstStyle>
          <a:p>
            <a:r>
              <a:rPr lang="en-GB"/>
              <a:t>Insert slide title</a:t>
            </a:r>
            <a:endParaRPr lang="en-IS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CDAA8F-28BF-F74E-A05E-EF59E623D7E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0291" y="1352550"/>
            <a:ext cx="11484279" cy="50736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A7B48C0-1F88-F749-8540-C0F6142DFADA}"/>
              </a:ext>
            </a:extLst>
          </p:cNvPr>
          <p:cNvSpPr/>
          <p:nvPr userDrawn="1"/>
        </p:nvSpPr>
        <p:spPr>
          <a:xfrm>
            <a:off x="0" y="0"/>
            <a:ext cx="111760" cy="6858000"/>
          </a:xfrm>
          <a:prstGeom prst="rect">
            <a:avLst/>
          </a:prstGeom>
          <a:solidFill>
            <a:srgbClr val="F053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C79CD8C-2338-8142-A026-8595CBCF84B3}"/>
              </a:ext>
            </a:extLst>
          </p:cNvPr>
          <p:cNvCxnSpPr>
            <a:cxnSpLocks/>
          </p:cNvCxnSpPr>
          <p:nvPr userDrawn="1"/>
        </p:nvCxnSpPr>
        <p:spPr>
          <a:xfrm>
            <a:off x="173812" y="0"/>
            <a:ext cx="0" cy="6858000"/>
          </a:xfrm>
          <a:prstGeom prst="line">
            <a:avLst/>
          </a:prstGeom>
          <a:ln>
            <a:solidFill>
              <a:srgbClr val="F4848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phic 9">
            <a:extLst>
              <a:ext uri="{FF2B5EF4-FFF2-40B4-BE49-F238E27FC236}">
                <a16:creationId xmlns:a16="http://schemas.microsoft.com/office/drawing/2014/main" id="{4698900C-4195-4648-91BE-3BFC7C54BA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34473" y="182051"/>
            <a:ext cx="935996" cy="214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738143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S Firs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24">
            <a:extLst>
              <a:ext uri="{FF2B5EF4-FFF2-40B4-BE49-F238E27FC236}">
                <a16:creationId xmlns:a16="http://schemas.microsoft.com/office/drawing/2014/main" id="{F14DCA7F-477F-EC49-BD8F-C3B6AE99007E}"/>
              </a:ext>
            </a:extLst>
          </p:cNvPr>
          <p:cNvSpPr/>
          <p:nvPr userDrawn="1"/>
        </p:nvSpPr>
        <p:spPr>
          <a:xfrm>
            <a:off x="0" y="0"/>
            <a:ext cx="3429000" cy="6858000"/>
          </a:xfrm>
          <a:custGeom>
            <a:avLst/>
            <a:gdLst>
              <a:gd name="connsiteX0" fmla="*/ 0 w 3429000"/>
              <a:gd name="connsiteY0" fmla="*/ 0 h 6858000"/>
              <a:gd name="connsiteX1" fmla="*/ 3429000 w 3429000"/>
              <a:gd name="connsiteY1" fmla="*/ 3429000 h 6858000"/>
              <a:gd name="connsiteX2" fmla="*/ 0 w 3429000"/>
              <a:gd name="connsiteY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29000" h="6858000">
                <a:moveTo>
                  <a:pt x="0" y="0"/>
                </a:moveTo>
                <a:cubicBezTo>
                  <a:pt x="1893784" y="0"/>
                  <a:pt x="3429000" y="1535216"/>
                  <a:pt x="3429000" y="3429000"/>
                </a:cubicBezTo>
                <a:cubicBezTo>
                  <a:pt x="3429000" y="5322784"/>
                  <a:pt x="1893784" y="6858000"/>
                  <a:pt x="0" y="6858000"/>
                </a:cubicBezTo>
                <a:close/>
              </a:path>
            </a:pathLst>
          </a:custGeom>
          <a:solidFill>
            <a:srgbClr val="F053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S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374A81D5-DE12-D748-BFFA-4C4967A5BF1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441325"/>
            <a:ext cx="2987675" cy="5975350"/>
          </a:xfrm>
          <a:custGeom>
            <a:avLst/>
            <a:gdLst>
              <a:gd name="connsiteX0" fmla="*/ 0 w 2546350"/>
              <a:gd name="connsiteY0" fmla="*/ 0 h 5092700"/>
              <a:gd name="connsiteX1" fmla="*/ 2546350 w 2546350"/>
              <a:gd name="connsiteY1" fmla="*/ 2546350 h 5092700"/>
              <a:gd name="connsiteX2" fmla="*/ 0 w 2546350"/>
              <a:gd name="connsiteY2" fmla="*/ 5092700 h 5092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46350" h="5092700">
                <a:moveTo>
                  <a:pt x="0" y="0"/>
                </a:moveTo>
                <a:cubicBezTo>
                  <a:pt x="1406310" y="0"/>
                  <a:pt x="2546350" y="1140040"/>
                  <a:pt x="2546350" y="2546350"/>
                </a:cubicBezTo>
                <a:cubicBezTo>
                  <a:pt x="2546350" y="3952660"/>
                  <a:pt x="1406310" y="5092700"/>
                  <a:pt x="0" y="50927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>
                <a:solidFill>
                  <a:srgbClr val="323133"/>
                </a:solidFill>
              </a:defRPr>
            </a:lvl1pPr>
          </a:lstStyle>
          <a:p>
            <a:endParaRPr lang="en-IS"/>
          </a:p>
        </p:txBody>
      </p:sp>
      <p:sp>
        <p:nvSpPr>
          <p:cNvPr id="29" name="Title Placeholder 12">
            <a:extLst>
              <a:ext uri="{FF2B5EF4-FFF2-40B4-BE49-F238E27FC236}">
                <a16:creationId xmlns:a16="http://schemas.microsoft.com/office/drawing/2014/main" id="{8ED9D5E6-8ADF-D843-853F-B53C0B5301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44800" y="488601"/>
            <a:ext cx="9006909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>
                <a:solidFill>
                  <a:srgbClr val="361D5C"/>
                </a:solidFill>
              </a:defRPr>
            </a:lvl1pPr>
          </a:lstStyle>
          <a:p>
            <a:r>
              <a:rPr lang="en-GB"/>
              <a:t>Insert slide title</a:t>
            </a:r>
            <a:endParaRPr lang="en-I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714C39F3-198E-6B4B-933E-3539119F38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86200" y="1352550"/>
            <a:ext cx="7938370" cy="50736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4295AFFA-4029-6622-7B89-76E43F0D1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34473" y="182051"/>
            <a:ext cx="935996" cy="214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057703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S Firs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DDC50F77-C5B2-FC4E-B53E-FBF4BB05BD6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11760" y="0"/>
            <a:ext cx="4762640" cy="68580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S"/>
              <a:t>Insert picture</a:t>
            </a:r>
          </a:p>
        </p:txBody>
      </p:sp>
      <p:sp>
        <p:nvSpPr>
          <p:cNvPr id="20" name="Title Placeholder 12">
            <a:extLst>
              <a:ext uri="{FF2B5EF4-FFF2-40B4-BE49-F238E27FC236}">
                <a16:creationId xmlns:a16="http://schemas.microsoft.com/office/drawing/2014/main" id="{A6214D5F-693C-514C-8CF4-BEB12DD3AE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13445" y="488601"/>
            <a:ext cx="6638262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3600">
                <a:solidFill>
                  <a:srgbClr val="361D5C"/>
                </a:solidFill>
              </a:defRPr>
            </a:lvl1pPr>
          </a:lstStyle>
          <a:p>
            <a:r>
              <a:rPr lang="en-GB"/>
              <a:t>Insert slide title</a:t>
            </a:r>
            <a:endParaRPr lang="en-IS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2890AF6C-696E-D043-AD31-40A9110E8A1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13445" y="1352550"/>
            <a:ext cx="6638262" cy="50736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81A9397-DEB3-D749-865A-556A86E66776}"/>
              </a:ext>
            </a:extLst>
          </p:cNvPr>
          <p:cNvSpPr/>
          <p:nvPr userDrawn="1"/>
        </p:nvSpPr>
        <p:spPr>
          <a:xfrm>
            <a:off x="0" y="0"/>
            <a:ext cx="111760" cy="6858000"/>
          </a:xfrm>
          <a:prstGeom prst="rect">
            <a:avLst/>
          </a:prstGeom>
          <a:solidFill>
            <a:srgbClr val="F053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BC519D1-59D0-96B2-FA55-6B31FB16D8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34473" y="182051"/>
            <a:ext cx="935996" cy="214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311968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S Firs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8582AF3E-986C-FB4E-81F7-E29E877A773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609114" y="544289"/>
            <a:ext cx="4582886" cy="576942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S"/>
              <a:t>Insert picture</a:t>
            </a:r>
          </a:p>
        </p:txBody>
      </p:sp>
      <p:sp>
        <p:nvSpPr>
          <p:cNvPr id="7" name="Title Placeholder 12">
            <a:extLst>
              <a:ext uri="{FF2B5EF4-FFF2-40B4-BE49-F238E27FC236}">
                <a16:creationId xmlns:a16="http://schemas.microsoft.com/office/drawing/2014/main" id="{6C5E7629-C9F0-B04B-98AB-B647A4074F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290" y="488601"/>
            <a:ext cx="6816055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3600">
                <a:solidFill>
                  <a:srgbClr val="361D5C"/>
                </a:solidFill>
              </a:defRPr>
            </a:lvl1pPr>
          </a:lstStyle>
          <a:p>
            <a:r>
              <a:rPr lang="en-GB"/>
              <a:t>Insert slide title</a:t>
            </a:r>
            <a:endParaRPr lang="en-I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5DD32FD-66BF-7E44-B1A7-D341AC08E35A}"/>
              </a:ext>
            </a:extLst>
          </p:cNvPr>
          <p:cNvSpPr/>
          <p:nvPr userDrawn="1"/>
        </p:nvSpPr>
        <p:spPr>
          <a:xfrm>
            <a:off x="0" y="0"/>
            <a:ext cx="111760" cy="6858000"/>
          </a:xfrm>
          <a:prstGeom prst="rect">
            <a:avLst/>
          </a:prstGeom>
          <a:solidFill>
            <a:srgbClr val="F053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1D85F05-6996-704B-9AEC-863B0CCCFC23}"/>
              </a:ext>
            </a:extLst>
          </p:cNvPr>
          <p:cNvCxnSpPr>
            <a:cxnSpLocks/>
          </p:cNvCxnSpPr>
          <p:nvPr userDrawn="1"/>
        </p:nvCxnSpPr>
        <p:spPr>
          <a:xfrm>
            <a:off x="173812" y="0"/>
            <a:ext cx="0" cy="6858000"/>
          </a:xfrm>
          <a:prstGeom prst="line">
            <a:avLst/>
          </a:prstGeom>
          <a:ln>
            <a:solidFill>
              <a:srgbClr val="F4848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EF07EA9E-F3EE-1212-6A8E-1B45F410EDB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0290" y="1352550"/>
            <a:ext cx="6816054" cy="49611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7965E0A-32FC-2A01-E20B-F6F1022AC4A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34473" y="182051"/>
            <a:ext cx="935996" cy="214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219931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S First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A7965E0A-32FC-2A01-E20B-F6F1022AC4A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34473" y="182051"/>
            <a:ext cx="935996" cy="214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897807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S Expres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2">
            <a:extLst>
              <a:ext uri="{FF2B5EF4-FFF2-40B4-BE49-F238E27FC236}">
                <a16:creationId xmlns:a16="http://schemas.microsoft.com/office/drawing/2014/main" id="{64D9D044-A701-E940-B90A-79FBC444A3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291" y="488601"/>
            <a:ext cx="11511418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>
                <a:solidFill>
                  <a:srgbClr val="361D5C"/>
                </a:solidFill>
              </a:defRPr>
            </a:lvl1pPr>
          </a:lstStyle>
          <a:p>
            <a:r>
              <a:rPr lang="en-GB"/>
              <a:t>Insert slide title</a:t>
            </a:r>
            <a:endParaRPr lang="en-IS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CDAA8F-28BF-F74E-A05E-EF59E623D7E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0291" y="1352550"/>
            <a:ext cx="11484279" cy="50736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A7B48C0-1F88-F749-8540-C0F6142DFADA}"/>
              </a:ext>
            </a:extLst>
          </p:cNvPr>
          <p:cNvSpPr/>
          <p:nvPr userDrawn="1"/>
        </p:nvSpPr>
        <p:spPr>
          <a:xfrm>
            <a:off x="0" y="0"/>
            <a:ext cx="111760" cy="6858000"/>
          </a:xfrm>
          <a:prstGeom prst="rect">
            <a:avLst/>
          </a:prstGeom>
          <a:solidFill>
            <a:srgbClr val="E47D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C79CD8C-2338-8142-A026-8595CBCF84B3}"/>
              </a:ext>
            </a:extLst>
          </p:cNvPr>
          <p:cNvCxnSpPr>
            <a:cxnSpLocks/>
          </p:cNvCxnSpPr>
          <p:nvPr userDrawn="1"/>
        </p:nvCxnSpPr>
        <p:spPr>
          <a:xfrm>
            <a:off x="173812" y="0"/>
            <a:ext cx="0" cy="6858000"/>
          </a:xfrm>
          <a:prstGeom prst="line">
            <a:avLst/>
          </a:prstGeom>
          <a:ln>
            <a:solidFill>
              <a:srgbClr val="F2A35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80D89CA1-3AC3-B24B-B36D-9C10920E98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743593" y="182395"/>
            <a:ext cx="1226876" cy="213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96207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S Expres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24">
            <a:extLst>
              <a:ext uri="{FF2B5EF4-FFF2-40B4-BE49-F238E27FC236}">
                <a16:creationId xmlns:a16="http://schemas.microsoft.com/office/drawing/2014/main" id="{F14DCA7F-477F-EC49-BD8F-C3B6AE99007E}"/>
              </a:ext>
            </a:extLst>
          </p:cNvPr>
          <p:cNvSpPr/>
          <p:nvPr userDrawn="1"/>
        </p:nvSpPr>
        <p:spPr>
          <a:xfrm>
            <a:off x="0" y="0"/>
            <a:ext cx="3429000" cy="6858000"/>
          </a:xfrm>
          <a:custGeom>
            <a:avLst/>
            <a:gdLst>
              <a:gd name="connsiteX0" fmla="*/ 0 w 3429000"/>
              <a:gd name="connsiteY0" fmla="*/ 0 h 6858000"/>
              <a:gd name="connsiteX1" fmla="*/ 3429000 w 3429000"/>
              <a:gd name="connsiteY1" fmla="*/ 3429000 h 6858000"/>
              <a:gd name="connsiteX2" fmla="*/ 0 w 3429000"/>
              <a:gd name="connsiteY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29000" h="6858000">
                <a:moveTo>
                  <a:pt x="0" y="0"/>
                </a:moveTo>
                <a:cubicBezTo>
                  <a:pt x="1893784" y="0"/>
                  <a:pt x="3429000" y="1535216"/>
                  <a:pt x="3429000" y="3429000"/>
                </a:cubicBezTo>
                <a:cubicBezTo>
                  <a:pt x="3429000" y="5322784"/>
                  <a:pt x="1893784" y="6858000"/>
                  <a:pt x="0" y="6858000"/>
                </a:cubicBezTo>
                <a:close/>
              </a:path>
            </a:pathLst>
          </a:custGeom>
          <a:solidFill>
            <a:srgbClr val="E47D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S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374A81D5-DE12-D748-BFFA-4C4967A5BF1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441325"/>
            <a:ext cx="2987675" cy="5975350"/>
          </a:xfrm>
          <a:custGeom>
            <a:avLst/>
            <a:gdLst>
              <a:gd name="connsiteX0" fmla="*/ 0 w 2546350"/>
              <a:gd name="connsiteY0" fmla="*/ 0 h 5092700"/>
              <a:gd name="connsiteX1" fmla="*/ 2546350 w 2546350"/>
              <a:gd name="connsiteY1" fmla="*/ 2546350 h 5092700"/>
              <a:gd name="connsiteX2" fmla="*/ 0 w 2546350"/>
              <a:gd name="connsiteY2" fmla="*/ 5092700 h 5092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46350" h="5092700">
                <a:moveTo>
                  <a:pt x="0" y="0"/>
                </a:moveTo>
                <a:cubicBezTo>
                  <a:pt x="1406310" y="0"/>
                  <a:pt x="2546350" y="1140040"/>
                  <a:pt x="2546350" y="2546350"/>
                </a:cubicBezTo>
                <a:cubicBezTo>
                  <a:pt x="2546350" y="3952660"/>
                  <a:pt x="1406310" y="5092700"/>
                  <a:pt x="0" y="50927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>
                <a:solidFill>
                  <a:srgbClr val="323133"/>
                </a:solidFill>
              </a:defRPr>
            </a:lvl1pPr>
          </a:lstStyle>
          <a:p>
            <a:endParaRPr lang="en-IS"/>
          </a:p>
        </p:txBody>
      </p:sp>
      <p:sp>
        <p:nvSpPr>
          <p:cNvPr id="29" name="Title Placeholder 12">
            <a:extLst>
              <a:ext uri="{FF2B5EF4-FFF2-40B4-BE49-F238E27FC236}">
                <a16:creationId xmlns:a16="http://schemas.microsoft.com/office/drawing/2014/main" id="{8ED9D5E6-8ADF-D843-853F-B53C0B5301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44800" y="488601"/>
            <a:ext cx="9006909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>
                <a:solidFill>
                  <a:srgbClr val="361D5C"/>
                </a:solidFill>
              </a:defRPr>
            </a:lvl1pPr>
          </a:lstStyle>
          <a:p>
            <a:r>
              <a:rPr lang="en-GB"/>
              <a:t>Insert slide title</a:t>
            </a:r>
            <a:endParaRPr lang="en-I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714C39F3-198E-6B4B-933E-3539119F38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86200" y="1352550"/>
            <a:ext cx="7938370" cy="50736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53D94D2-11F8-0BB7-037B-5EDD8FB429C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743593" y="182395"/>
            <a:ext cx="1226876" cy="213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122498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S Expres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DDC50F77-C5B2-FC4E-B53E-FBF4BB05BD6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11760" y="0"/>
            <a:ext cx="4762640" cy="68580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S"/>
              <a:t>Insert picture</a:t>
            </a:r>
          </a:p>
        </p:txBody>
      </p:sp>
      <p:sp>
        <p:nvSpPr>
          <p:cNvPr id="20" name="Title Placeholder 12">
            <a:extLst>
              <a:ext uri="{FF2B5EF4-FFF2-40B4-BE49-F238E27FC236}">
                <a16:creationId xmlns:a16="http://schemas.microsoft.com/office/drawing/2014/main" id="{A6214D5F-693C-514C-8CF4-BEB12DD3AE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13445" y="488601"/>
            <a:ext cx="6638262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3600">
                <a:solidFill>
                  <a:srgbClr val="361D5C"/>
                </a:solidFill>
              </a:defRPr>
            </a:lvl1pPr>
          </a:lstStyle>
          <a:p>
            <a:r>
              <a:rPr lang="en-GB"/>
              <a:t>Insert slide title</a:t>
            </a:r>
            <a:endParaRPr lang="en-IS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2890AF6C-696E-D043-AD31-40A9110E8A1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13445" y="1352550"/>
            <a:ext cx="6638262" cy="50736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81A9397-DEB3-D749-865A-556A86E66776}"/>
              </a:ext>
            </a:extLst>
          </p:cNvPr>
          <p:cNvSpPr/>
          <p:nvPr userDrawn="1"/>
        </p:nvSpPr>
        <p:spPr>
          <a:xfrm>
            <a:off x="0" y="0"/>
            <a:ext cx="111760" cy="6858000"/>
          </a:xfrm>
          <a:prstGeom prst="rect">
            <a:avLst/>
          </a:prstGeom>
          <a:solidFill>
            <a:srgbClr val="E47D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E4EA735-FD69-A983-B0F8-1F6D7308960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743593" y="182395"/>
            <a:ext cx="1226876" cy="213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803460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S Express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8582AF3E-986C-FB4E-81F7-E29E877A773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609114" y="544289"/>
            <a:ext cx="4582886" cy="576942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S"/>
              <a:t>Insert picture</a:t>
            </a:r>
          </a:p>
        </p:txBody>
      </p:sp>
      <p:sp>
        <p:nvSpPr>
          <p:cNvPr id="7" name="Title Placeholder 12">
            <a:extLst>
              <a:ext uri="{FF2B5EF4-FFF2-40B4-BE49-F238E27FC236}">
                <a16:creationId xmlns:a16="http://schemas.microsoft.com/office/drawing/2014/main" id="{6C5E7629-C9F0-B04B-98AB-B647A4074F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290" y="488601"/>
            <a:ext cx="6816055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3600">
                <a:solidFill>
                  <a:srgbClr val="361D5C"/>
                </a:solidFill>
              </a:defRPr>
            </a:lvl1pPr>
          </a:lstStyle>
          <a:p>
            <a:r>
              <a:rPr lang="en-GB"/>
              <a:t>Insert slide title</a:t>
            </a:r>
            <a:endParaRPr lang="en-I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5DD32FD-66BF-7E44-B1A7-D341AC08E35A}"/>
              </a:ext>
            </a:extLst>
          </p:cNvPr>
          <p:cNvSpPr/>
          <p:nvPr userDrawn="1"/>
        </p:nvSpPr>
        <p:spPr>
          <a:xfrm>
            <a:off x="0" y="0"/>
            <a:ext cx="111760" cy="6858000"/>
          </a:xfrm>
          <a:prstGeom prst="rect">
            <a:avLst/>
          </a:prstGeom>
          <a:solidFill>
            <a:srgbClr val="E47D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1D85F05-6996-704B-9AEC-863B0CCCFC23}"/>
              </a:ext>
            </a:extLst>
          </p:cNvPr>
          <p:cNvCxnSpPr>
            <a:cxnSpLocks/>
          </p:cNvCxnSpPr>
          <p:nvPr userDrawn="1"/>
        </p:nvCxnSpPr>
        <p:spPr>
          <a:xfrm>
            <a:off x="173812" y="0"/>
            <a:ext cx="0" cy="6858000"/>
          </a:xfrm>
          <a:prstGeom prst="line">
            <a:avLst/>
          </a:prstGeom>
          <a:ln>
            <a:solidFill>
              <a:srgbClr val="F2A35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148E19D-63D5-4A99-0934-1EC6ADF9E84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0290" y="1352550"/>
            <a:ext cx="6816054" cy="49611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rgbClr val="32313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602B03B-8C0D-BD8E-7AB9-D443A9912AC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743593" y="182395"/>
            <a:ext cx="1226876" cy="213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607769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S Express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A602B03B-8C0D-BD8E-7AB9-D443A9912AC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743593" y="182395"/>
            <a:ext cx="1226876" cy="213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58372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Chapt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5E2FD613-0ADB-094F-9CD2-554E6C78DC68}"/>
              </a:ext>
            </a:extLst>
          </p:cNvPr>
          <p:cNvSpPr/>
          <p:nvPr userDrawn="1"/>
        </p:nvSpPr>
        <p:spPr>
          <a:xfrm rot="8100000">
            <a:off x="2800105" y="1415806"/>
            <a:ext cx="4418286" cy="4418286"/>
          </a:xfrm>
          <a:prstGeom prst="rect">
            <a:avLst/>
          </a:prstGeom>
          <a:gradFill>
            <a:gsLst>
              <a:gs pos="100000">
                <a:srgbClr val="361D5C">
                  <a:alpha val="0"/>
                </a:srgbClr>
              </a:gs>
              <a:gs pos="0">
                <a:srgbClr val="361D5C">
                  <a:alpha val="0"/>
                </a:srgbClr>
              </a:gs>
              <a:gs pos="50000">
                <a:srgbClr val="361D5C">
                  <a:alpha val="49602"/>
                </a:srgbClr>
              </a:gs>
            </a:gsLst>
            <a:lin ang="81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9687BCB-1984-9B41-98BA-0B729407F26B}"/>
              </a:ext>
            </a:extLst>
          </p:cNvPr>
          <p:cNvSpPr/>
          <p:nvPr userDrawn="1"/>
        </p:nvSpPr>
        <p:spPr>
          <a:xfrm rot="13500000">
            <a:off x="1410758" y="1111004"/>
            <a:ext cx="4418286" cy="4418286"/>
          </a:xfrm>
          <a:prstGeom prst="rect">
            <a:avLst/>
          </a:prstGeom>
          <a:gradFill>
            <a:gsLst>
              <a:gs pos="100000">
                <a:srgbClr val="361D5C">
                  <a:alpha val="0"/>
                </a:srgbClr>
              </a:gs>
              <a:gs pos="0">
                <a:srgbClr val="361D5C">
                  <a:alpha val="0"/>
                </a:srgbClr>
              </a:gs>
              <a:gs pos="49000">
                <a:srgbClr val="361D5C">
                  <a:alpha val="50137"/>
                </a:srgbClr>
              </a:gs>
            </a:gsLst>
            <a:lin ang="81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sp>
        <p:nvSpPr>
          <p:cNvPr id="30" name="Freeform 29">
            <a:extLst>
              <a:ext uri="{FF2B5EF4-FFF2-40B4-BE49-F238E27FC236}">
                <a16:creationId xmlns:a16="http://schemas.microsoft.com/office/drawing/2014/main" id="{FAB0322F-4592-16FF-E490-7890B20626E6}"/>
              </a:ext>
            </a:extLst>
          </p:cNvPr>
          <p:cNvSpPr/>
          <p:nvPr userDrawn="1"/>
        </p:nvSpPr>
        <p:spPr>
          <a:xfrm>
            <a:off x="-5914" y="1493392"/>
            <a:ext cx="5369483" cy="5369482"/>
          </a:xfrm>
          <a:custGeom>
            <a:avLst/>
            <a:gdLst>
              <a:gd name="connsiteX0" fmla="*/ 0 w 5369483"/>
              <a:gd name="connsiteY0" fmla="*/ 0 h 5369482"/>
              <a:gd name="connsiteX1" fmla="*/ 5369483 w 5369483"/>
              <a:gd name="connsiteY1" fmla="*/ 5369482 h 5369482"/>
              <a:gd name="connsiteX2" fmla="*/ 2251404 w 5369483"/>
              <a:gd name="connsiteY2" fmla="*/ 5369482 h 5369482"/>
              <a:gd name="connsiteX3" fmla="*/ 0 w 5369483"/>
              <a:gd name="connsiteY3" fmla="*/ 3118079 h 53694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69483" h="5369482">
                <a:moveTo>
                  <a:pt x="0" y="0"/>
                </a:moveTo>
                <a:lnTo>
                  <a:pt x="5369483" y="5369482"/>
                </a:lnTo>
                <a:lnTo>
                  <a:pt x="2251404" y="5369482"/>
                </a:lnTo>
                <a:lnTo>
                  <a:pt x="0" y="3118079"/>
                </a:lnTo>
                <a:close/>
              </a:path>
            </a:pathLst>
          </a:custGeom>
          <a:solidFill>
            <a:srgbClr val="29B4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7566114-CC2C-8545-955D-F090D7E9F93D}"/>
              </a:ext>
            </a:extLst>
          </p:cNvPr>
          <p:cNvSpPr/>
          <p:nvPr userDrawn="1"/>
        </p:nvSpPr>
        <p:spPr>
          <a:xfrm rot="8100000">
            <a:off x="3886857" y="1415805"/>
            <a:ext cx="4418286" cy="4418286"/>
          </a:xfrm>
          <a:prstGeom prst="rect">
            <a:avLst/>
          </a:prstGeom>
          <a:gradFill>
            <a:gsLst>
              <a:gs pos="100000">
                <a:srgbClr val="361D5C">
                  <a:alpha val="0"/>
                </a:srgbClr>
              </a:gs>
              <a:gs pos="0">
                <a:srgbClr val="361D5C">
                  <a:alpha val="0"/>
                </a:srgbClr>
              </a:gs>
              <a:gs pos="50000">
                <a:srgbClr val="361D5C">
                  <a:alpha val="49796"/>
                </a:srgbClr>
              </a:gs>
            </a:gsLst>
            <a:lin ang="81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BF7237B-B27F-0248-B221-E849A67812A1}"/>
              </a:ext>
            </a:extLst>
          </p:cNvPr>
          <p:cNvSpPr/>
          <p:nvPr userDrawn="1"/>
        </p:nvSpPr>
        <p:spPr>
          <a:xfrm rot="13500000">
            <a:off x="6362956" y="1111004"/>
            <a:ext cx="4418286" cy="4418286"/>
          </a:xfrm>
          <a:prstGeom prst="rect">
            <a:avLst/>
          </a:prstGeom>
          <a:gradFill>
            <a:gsLst>
              <a:gs pos="100000">
                <a:srgbClr val="361D5C">
                  <a:alpha val="0"/>
                </a:srgbClr>
              </a:gs>
              <a:gs pos="0">
                <a:srgbClr val="361D5C">
                  <a:alpha val="0"/>
                </a:srgbClr>
              </a:gs>
              <a:gs pos="50000">
                <a:srgbClr val="361D5C">
                  <a:alpha val="49682"/>
                </a:srgbClr>
              </a:gs>
            </a:gsLst>
            <a:lin ang="81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6AC0B01-776C-864C-ABD8-1970F34FFF1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51481" y="711051"/>
            <a:ext cx="5916694" cy="5916694"/>
          </a:xfrm>
          <a:prstGeom prst="diamond">
            <a:avLst/>
          </a:prstGeom>
          <a:ln>
            <a:gradFill>
              <a:gsLst>
                <a:gs pos="0">
                  <a:srgbClr val="F6C370"/>
                </a:gs>
                <a:gs pos="100000">
                  <a:srgbClr val="F6C370">
                    <a:alpha val="0"/>
                  </a:srgbClr>
                </a:gs>
              </a:gsLst>
              <a:lin ang="5400000" scaled="1"/>
            </a:gradFill>
          </a:ln>
          <a:effectLst>
            <a:outerShdw blurRad="152400" dist="101600" dir="5400000" algn="ctr" rotWithShape="0">
              <a:srgbClr val="000000">
                <a:alpha val="34687"/>
              </a:srgbClr>
            </a:outerShdw>
          </a:effectLst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S"/>
              <a:t>Insert pictu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8F0458-666E-B242-AA9B-31C770B5EB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0" y="4720343"/>
            <a:ext cx="5605219" cy="1185620"/>
          </a:xfrm>
          <a:prstGeom prst="rect">
            <a:avLst/>
          </a:prstGeom>
        </p:spPr>
        <p:txBody>
          <a:bodyPr anchor="t" anchorCtr="0"/>
          <a:lstStyle>
            <a:lvl1pPr marL="0" indent="0" algn="ctr">
              <a:buNone/>
              <a:defRPr sz="40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Insert title</a:t>
            </a:r>
            <a:endParaRPr lang="en-I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4DD9236-912C-344B-9E5C-FA71BC0D7733}"/>
              </a:ext>
            </a:extLst>
          </p:cNvPr>
          <p:cNvCxnSpPr>
            <a:cxnSpLocks/>
          </p:cNvCxnSpPr>
          <p:nvPr userDrawn="1"/>
        </p:nvCxnSpPr>
        <p:spPr>
          <a:xfrm>
            <a:off x="6672875" y="1073461"/>
            <a:ext cx="515408" cy="515408"/>
          </a:xfrm>
          <a:prstGeom prst="line">
            <a:avLst/>
          </a:prstGeom>
          <a:ln>
            <a:gradFill>
              <a:gsLst>
                <a:gs pos="0">
                  <a:srgbClr val="F6C370">
                    <a:alpha val="0"/>
                  </a:srgbClr>
                </a:gs>
                <a:gs pos="99000">
                  <a:srgbClr val="F6C370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EDE2553-0A96-BE4B-BB2B-76B1728C21C7}"/>
              </a:ext>
            </a:extLst>
          </p:cNvPr>
          <p:cNvCxnSpPr>
            <a:cxnSpLocks/>
          </p:cNvCxnSpPr>
          <p:nvPr userDrawn="1"/>
        </p:nvCxnSpPr>
        <p:spPr>
          <a:xfrm flipH="1">
            <a:off x="7182754" y="317350"/>
            <a:ext cx="1266294" cy="1266294"/>
          </a:xfrm>
          <a:prstGeom prst="line">
            <a:avLst/>
          </a:prstGeom>
          <a:ln>
            <a:gradFill>
              <a:gsLst>
                <a:gs pos="0">
                  <a:srgbClr val="F6C370">
                    <a:alpha val="0"/>
                  </a:srgbClr>
                </a:gs>
                <a:gs pos="99000">
                  <a:srgbClr val="F6C370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C6DC063-E0B5-5C4C-A6BB-44D3156187FC}"/>
              </a:ext>
            </a:extLst>
          </p:cNvPr>
          <p:cNvCxnSpPr>
            <a:cxnSpLocks/>
          </p:cNvCxnSpPr>
          <p:nvPr userDrawn="1"/>
        </p:nvCxnSpPr>
        <p:spPr>
          <a:xfrm flipV="1">
            <a:off x="11026775" y="3322111"/>
            <a:ext cx="674445" cy="674445"/>
          </a:xfrm>
          <a:prstGeom prst="line">
            <a:avLst/>
          </a:prstGeom>
          <a:ln>
            <a:gradFill>
              <a:gsLst>
                <a:gs pos="0">
                  <a:srgbClr val="F6C370">
                    <a:alpha val="0"/>
                  </a:srgbClr>
                </a:gs>
                <a:gs pos="99000">
                  <a:srgbClr val="F6C370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CE8CBB6-B3C4-D14C-8D91-B662FC73557E}"/>
              </a:ext>
            </a:extLst>
          </p:cNvPr>
          <p:cNvCxnSpPr>
            <a:cxnSpLocks/>
          </p:cNvCxnSpPr>
          <p:nvPr userDrawn="1"/>
        </p:nvCxnSpPr>
        <p:spPr>
          <a:xfrm>
            <a:off x="10031896" y="1652788"/>
            <a:ext cx="1669323" cy="1669323"/>
          </a:xfrm>
          <a:prstGeom prst="line">
            <a:avLst/>
          </a:prstGeom>
          <a:ln>
            <a:gradFill>
              <a:gsLst>
                <a:gs pos="0">
                  <a:srgbClr val="F6C370">
                    <a:alpha val="0"/>
                  </a:srgbClr>
                </a:gs>
                <a:gs pos="99000">
                  <a:srgbClr val="F6C370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Graphic 16">
            <a:extLst>
              <a:ext uri="{FF2B5EF4-FFF2-40B4-BE49-F238E27FC236}">
                <a16:creationId xmlns:a16="http://schemas.microsoft.com/office/drawing/2014/main" id="{196931CC-F0F5-8E10-BD0E-9A1AC5B0A30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187671" y="2303488"/>
            <a:ext cx="3421876" cy="1409006"/>
          </a:xfrm>
          <a:prstGeom prst="rect">
            <a:avLst/>
          </a:prstGeom>
        </p:spPr>
      </p:pic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074B519A-3357-1943-878B-4FE463E1C5CD}"/>
              </a:ext>
            </a:extLst>
          </p:cNvPr>
          <p:cNvCxnSpPr>
            <a:cxnSpLocks/>
          </p:cNvCxnSpPr>
          <p:nvPr userDrawn="1"/>
        </p:nvCxnSpPr>
        <p:spPr>
          <a:xfrm flipH="1">
            <a:off x="-110123" y="201699"/>
            <a:ext cx="3720821" cy="3720821"/>
          </a:xfrm>
          <a:prstGeom prst="line">
            <a:avLst/>
          </a:prstGeom>
          <a:ln>
            <a:gradFill>
              <a:gsLst>
                <a:gs pos="99000">
                  <a:srgbClr val="F6C370">
                    <a:alpha val="0"/>
                  </a:srgbClr>
                </a:gs>
                <a:gs pos="0">
                  <a:srgbClr val="F6C370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3068153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slide/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1812F4C1-9107-094E-74BF-AB7B3A3E99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022221" y="2361448"/>
            <a:ext cx="4147558" cy="1707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650958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ABEB495D-D33F-4B67-34F3-3B068AE15E02}"/>
              </a:ext>
            </a:extLst>
          </p:cNvPr>
          <p:cNvSpPr/>
          <p:nvPr userDrawn="1"/>
        </p:nvSpPr>
        <p:spPr>
          <a:xfrm>
            <a:off x="0" y="0"/>
            <a:ext cx="3546505" cy="1563880"/>
          </a:xfrm>
          <a:prstGeom prst="rect">
            <a:avLst/>
          </a:prstGeom>
          <a:solidFill>
            <a:srgbClr val="29B4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7FAA307-5791-943D-C4EB-9270E7C244E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11998" y="405321"/>
            <a:ext cx="4291605" cy="4328398"/>
          </a:xfrm>
          <a:prstGeom prst="rect">
            <a:avLst/>
          </a:prstGeom>
          <a:ln w="15875">
            <a:gradFill>
              <a:gsLst>
                <a:gs pos="100000">
                  <a:srgbClr val="F6C370">
                    <a:alpha val="0"/>
                  </a:srgbClr>
                </a:gs>
                <a:gs pos="0">
                  <a:srgbClr val="F6C370"/>
                </a:gs>
              </a:gsLst>
              <a:lin ang="5400000" scaled="0"/>
            </a:gradFill>
          </a:ln>
          <a:effectLst>
            <a:outerShdw blurRad="127000" dist="76200" dir="5400000" algn="ctr" rotWithShape="0">
              <a:srgbClr val="000000">
                <a:alpha val="30000"/>
              </a:srgbClr>
            </a:outerShdw>
          </a:effectLst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GB"/>
              <a:t>Click icon to add picture</a:t>
            </a:r>
            <a:endParaRPr lang="en-I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AF329F6-A362-EF03-A812-B1B618ADC89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1998" y="5162399"/>
            <a:ext cx="6967370" cy="5365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>
                <a:solidFill>
                  <a:srgbClr val="F6C37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Insert speaker name</a:t>
            </a:r>
            <a:endParaRPr lang="en-IS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F5128807-5C86-2618-AED8-CD0BC59C116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1998" y="5698959"/>
            <a:ext cx="6967370" cy="37636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Job title</a:t>
            </a:r>
            <a:endParaRPr lang="en-IS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B08A129B-8A0B-082D-128A-76A825E517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1998" y="6076319"/>
            <a:ext cx="6967370" cy="32389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rgbClr val="29B4A9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Email address</a:t>
            </a:r>
            <a:endParaRPr lang="en-I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A39651B-F780-6177-DDDC-B62AC38E5F11}"/>
              </a:ext>
            </a:extLst>
          </p:cNvPr>
          <p:cNvSpPr/>
          <p:nvPr userDrawn="1"/>
        </p:nvSpPr>
        <p:spPr>
          <a:xfrm rot="13500000">
            <a:off x="6824148" y="1779113"/>
            <a:ext cx="3247308" cy="3247308"/>
          </a:xfrm>
          <a:prstGeom prst="rect">
            <a:avLst/>
          </a:prstGeom>
          <a:gradFill>
            <a:gsLst>
              <a:gs pos="100000">
                <a:srgbClr val="361D5C">
                  <a:alpha val="0"/>
                </a:srgbClr>
              </a:gs>
              <a:gs pos="0">
                <a:srgbClr val="361D5C">
                  <a:alpha val="0"/>
                </a:srgbClr>
              </a:gs>
              <a:gs pos="50000">
                <a:srgbClr val="361D5C">
                  <a:alpha val="49617"/>
                </a:srgbClr>
              </a:gs>
            </a:gsLst>
            <a:lin ang="81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352EB82-A26E-55FC-EB98-F4D470741FBE}"/>
              </a:ext>
            </a:extLst>
          </p:cNvPr>
          <p:cNvCxnSpPr>
            <a:cxnSpLocks/>
          </p:cNvCxnSpPr>
          <p:nvPr userDrawn="1"/>
        </p:nvCxnSpPr>
        <p:spPr>
          <a:xfrm>
            <a:off x="9537178" y="5310835"/>
            <a:ext cx="457200" cy="457200"/>
          </a:xfrm>
          <a:prstGeom prst="line">
            <a:avLst/>
          </a:prstGeom>
          <a:ln>
            <a:gradFill>
              <a:gsLst>
                <a:gs pos="0">
                  <a:srgbClr val="F6C370"/>
                </a:gs>
                <a:gs pos="100000">
                  <a:srgbClr val="F6C370">
                    <a:alpha val="0"/>
                  </a:srgb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C108595-8474-4165-2009-68EEDE3FFDA5}"/>
              </a:ext>
            </a:extLst>
          </p:cNvPr>
          <p:cNvCxnSpPr>
            <a:cxnSpLocks/>
          </p:cNvCxnSpPr>
          <p:nvPr userDrawn="1"/>
        </p:nvCxnSpPr>
        <p:spPr>
          <a:xfrm flipH="1">
            <a:off x="6675510" y="405321"/>
            <a:ext cx="1772290" cy="1772290"/>
          </a:xfrm>
          <a:prstGeom prst="line">
            <a:avLst/>
          </a:prstGeom>
          <a:ln>
            <a:gradFill>
              <a:gsLst>
                <a:gs pos="99000">
                  <a:srgbClr val="F6C370">
                    <a:alpha val="0"/>
                  </a:srgbClr>
                </a:gs>
                <a:gs pos="0">
                  <a:srgbClr val="F6C370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A9459DF-BAB2-B778-5DBF-5D0AB1E37F4A}"/>
              </a:ext>
            </a:extLst>
          </p:cNvPr>
          <p:cNvCxnSpPr>
            <a:cxnSpLocks/>
          </p:cNvCxnSpPr>
          <p:nvPr userDrawn="1"/>
        </p:nvCxnSpPr>
        <p:spPr>
          <a:xfrm flipV="1">
            <a:off x="8447800" y="5310836"/>
            <a:ext cx="1089377" cy="1089377"/>
          </a:xfrm>
          <a:prstGeom prst="line">
            <a:avLst/>
          </a:prstGeom>
          <a:ln>
            <a:gradFill>
              <a:gsLst>
                <a:gs pos="0">
                  <a:srgbClr val="F6C370">
                    <a:alpha val="0"/>
                  </a:srgbClr>
                </a:gs>
                <a:gs pos="99000">
                  <a:srgbClr val="F6C370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Graphic 24">
            <a:extLst>
              <a:ext uri="{FF2B5EF4-FFF2-40B4-BE49-F238E27FC236}">
                <a16:creationId xmlns:a16="http://schemas.microsoft.com/office/drawing/2014/main" id="{DB62BD37-2F52-0A73-67D5-3B0A1BC471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065064" y="176833"/>
            <a:ext cx="1966516" cy="809741"/>
          </a:xfrm>
          <a:prstGeom prst="rect">
            <a:avLst/>
          </a:prstGeom>
        </p:spPr>
      </p:pic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2F43E51A-747A-C23E-E965-ACDDCAD854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49033" y="2479536"/>
            <a:ext cx="6397536" cy="624611"/>
          </a:xfrm>
          <a:prstGeom prst="rect">
            <a:avLst/>
          </a:prstGeom>
        </p:spPr>
        <p:txBody>
          <a:bodyPr anchor="t" anchorCtr="0"/>
          <a:lstStyle>
            <a:lvl1pPr marL="0" indent="0" algn="ctr">
              <a:buNone/>
              <a:defRPr sz="40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Presentation title</a:t>
            </a:r>
            <a:endParaRPr lang="en-IS"/>
          </a:p>
        </p:txBody>
      </p:sp>
    </p:spTree>
    <p:extLst>
      <p:ext uri="{BB962C8B-B14F-4D97-AF65-F5344CB8AC3E}">
        <p14:creationId xmlns:p14="http://schemas.microsoft.com/office/powerpoint/2010/main" val="402891959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peaker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87F29889-7A2C-8F94-CAE9-11B28023FC7D}"/>
              </a:ext>
            </a:extLst>
          </p:cNvPr>
          <p:cNvSpPr/>
          <p:nvPr userDrawn="1"/>
        </p:nvSpPr>
        <p:spPr>
          <a:xfrm rot="5400000">
            <a:off x="-361956" y="361957"/>
            <a:ext cx="1826351" cy="1102438"/>
          </a:xfrm>
          <a:prstGeom prst="rect">
            <a:avLst/>
          </a:prstGeom>
          <a:solidFill>
            <a:srgbClr val="29B4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0D6977E-AB56-017E-0E2F-1C370C495DEA}"/>
              </a:ext>
            </a:extLst>
          </p:cNvPr>
          <p:cNvSpPr/>
          <p:nvPr userDrawn="1"/>
        </p:nvSpPr>
        <p:spPr>
          <a:xfrm>
            <a:off x="0" y="3168597"/>
            <a:ext cx="3572142" cy="1102438"/>
          </a:xfrm>
          <a:prstGeom prst="rect">
            <a:avLst/>
          </a:prstGeom>
          <a:solidFill>
            <a:srgbClr val="29B4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7FAA307-5791-943D-C4EB-9270E7C244E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11998" y="832664"/>
            <a:ext cx="1912409" cy="1928805"/>
          </a:xfrm>
          <a:prstGeom prst="rect">
            <a:avLst/>
          </a:prstGeom>
          <a:ln>
            <a:gradFill>
              <a:gsLst>
                <a:gs pos="100000">
                  <a:srgbClr val="F6C370">
                    <a:alpha val="0"/>
                  </a:srgbClr>
                </a:gs>
                <a:gs pos="0">
                  <a:srgbClr val="F6C370"/>
                </a:gs>
              </a:gsLst>
              <a:lin ang="5400000" scaled="0"/>
            </a:gradFill>
          </a:ln>
          <a:effectLst>
            <a:outerShdw blurRad="127000" dist="76200" dir="5400000" algn="ctr" rotWithShape="0">
              <a:srgbClr val="000000">
                <a:alpha val="30000"/>
              </a:srgbClr>
            </a:outerShdw>
          </a:effectLst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GB"/>
              <a:t>Click icon to add picture</a:t>
            </a:r>
            <a:endParaRPr lang="en-I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AF329F6-A362-EF03-A812-B1B618ADC89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1361" y="4972417"/>
            <a:ext cx="4118199" cy="407128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400" b="1">
                <a:solidFill>
                  <a:srgbClr val="F6C37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Insert speaker name</a:t>
            </a:r>
            <a:endParaRPr lang="en-IS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F5128807-5C86-2618-AED8-CD0BC59C116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1361" y="5379545"/>
            <a:ext cx="4118199" cy="3161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Job title</a:t>
            </a:r>
            <a:endParaRPr lang="en-I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A39651B-F780-6177-DDDC-B62AC38E5F11}"/>
              </a:ext>
            </a:extLst>
          </p:cNvPr>
          <p:cNvSpPr/>
          <p:nvPr userDrawn="1"/>
        </p:nvSpPr>
        <p:spPr>
          <a:xfrm rot="13500000">
            <a:off x="6824148" y="1779113"/>
            <a:ext cx="3247308" cy="3247308"/>
          </a:xfrm>
          <a:prstGeom prst="rect">
            <a:avLst/>
          </a:prstGeom>
          <a:gradFill>
            <a:gsLst>
              <a:gs pos="100000">
                <a:srgbClr val="361D5C">
                  <a:alpha val="0"/>
                </a:srgbClr>
              </a:gs>
              <a:gs pos="0">
                <a:srgbClr val="361D5C">
                  <a:alpha val="0"/>
                </a:srgbClr>
              </a:gs>
              <a:gs pos="50000">
                <a:srgbClr val="361D5C">
                  <a:alpha val="49617"/>
                </a:srgbClr>
              </a:gs>
            </a:gsLst>
            <a:lin ang="81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352EB82-A26E-55FC-EB98-F4D470741FBE}"/>
              </a:ext>
            </a:extLst>
          </p:cNvPr>
          <p:cNvCxnSpPr>
            <a:cxnSpLocks/>
          </p:cNvCxnSpPr>
          <p:nvPr userDrawn="1"/>
        </p:nvCxnSpPr>
        <p:spPr>
          <a:xfrm>
            <a:off x="9537178" y="5310835"/>
            <a:ext cx="457200" cy="457200"/>
          </a:xfrm>
          <a:prstGeom prst="line">
            <a:avLst/>
          </a:prstGeom>
          <a:ln>
            <a:gradFill>
              <a:gsLst>
                <a:gs pos="0">
                  <a:srgbClr val="F6C370"/>
                </a:gs>
                <a:gs pos="100000">
                  <a:srgbClr val="F6C370">
                    <a:alpha val="0"/>
                  </a:srgb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C108595-8474-4165-2009-68EEDE3FFDA5}"/>
              </a:ext>
            </a:extLst>
          </p:cNvPr>
          <p:cNvCxnSpPr>
            <a:cxnSpLocks/>
          </p:cNvCxnSpPr>
          <p:nvPr userDrawn="1"/>
        </p:nvCxnSpPr>
        <p:spPr>
          <a:xfrm flipH="1">
            <a:off x="6675510" y="405321"/>
            <a:ext cx="1772290" cy="1772290"/>
          </a:xfrm>
          <a:prstGeom prst="line">
            <a:avLst/>
          </a:prstGeom>
          <a:ln>
            <a:gradFill>
              <a:gsLst>
                <a:gs pos="99000">
                  <a:srgbClr val="F6C370">
                    <a:alpha val="0"/>
                  </a:srgbClr>
                </a:gs>
                <a:gs pos="0">
                  <a:srgbClr val="F6C370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A9459DF-BAB2-B778-5DBF-5D0AB1E37F4A}"/>
              </a:ext>
            </a:extLst>
          </p:cNvPr>
          <p:cNvCxnSpPr>
            <a:cxnSpLocks/>
          </p:cNvCxnSpPr>
          <p:nvPr userDrawn="1"/>
        </p:nvCxnSpPr>
        <p:spPr>
          <a:xfrm flipV="1">
            <a:off x="8447800" y="5310836"/>
            <a:ext cx="1089377" cy="1089377"/>
          </a:xfrm>
          <a:prstGeom prst="line">
            <a:avLst/>
          </a:prstGeom>
          <a:ln>
            <a:gradFill>
              <a:gsLst>
                <a:gs pos="0">
                  <a:srgbClr val="F6C370">
                    <a:alpha val="0"/>
                  </a:srgbClr>
                </a:gs>
                <a:gs pos="99000">
                  <a:srgbClr val="F6C370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Graphic 24">
            <a:extLst>
              <a:ext uri="{FF2B5EF4-FFF2-40B4-BE49-F238E27FC236}">
                <a16:creationId xmlns:a16="http://schemas.microsoft.com/office/drawing/2014/main" id="{DB62BD37-2F52-0A73-67D5-3B0A1BC471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065064" y="176833"/>
            <a:ext cx="1966516" cy="809741"/>
          </a:xfrm>
          <a:prstGeom prst="rect">
            <a:avLst/>
          </a:prstGeom>
        </p:spPr>
      </p:pic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2F43E51A-747A-C23E-E965-ACDDCAD854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85314" y="3008421"/>
            <a:ext cx="6724974" cy="624611"/>
          </a:xfrm>
          <a:prstGeom prst="rect">
            <a:avLst/>
          </a:prstGeom>
        </p:spPr>
        <p:txBody>
          <a:bodyPr anchor="t" anchorCtr="0"/>
          <a:lstStyle>
            <a:lvl1pPr marL="0" indent="0" algn="ctr">
              <a:buNone/>
              <a:defRPr sz="40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Presentation title</a:t>
            </a:r>
            <a:endParaRPr lang="en-IS"/>
          </a:p>
        </p:txBody>
      </p:sp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5414FDC7-DA55-3155-E799-63E04535681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736647" y="2755414"/>
            <a:ext cx="1912409" cy="1928805"/>
          </a:xfrm>
          <a:prstGeom prst="rect">
            <a:avLst/>
          </a:prstGeom>
          <a:ln>
            <a:gradFill>
              <a:gsLst>
                <a:gs pos="100000">
                  <a:srgbClr val="F6C370">
                    <a:alpha val="0"/>
                  </a:srgbClr>
                </a:gs>
                <a:gs pos="0">
                  <a:srgbClr val="F6C370"/>
                </a:gs>
              </a:gsLst>
              <a:lin ang="5400000" scaled="0"/>
            </a:gradFill>
          </a:ln>
          <a:effectLst>
            <a:outerShdw blurRad="127000" dist="76200" dir="5400000" algn="ctr" rotWithShape="0">
              <a:srgbClr val="000000">
                <a:alpha val="30000"/>
              </a:srgbClr>
            </a:outerShdw>
          </a:effectLst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GB"/>
              <a:t>Click icon to add picture</a:t>
            </a:r>
            <a:endParaRPr lang="en-IS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C52DE1B-8B33-CAB2-5BDF-105F3BFCE4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1361" y="5695645"/>
            <a:ext cx="4118199" cy="3161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400" b="0">
                <a:solidFill>
                  <a:srgbClr val="29B4A9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Email address</a:t>
            </a:r>
            <a:endParaRPr lang="en-IS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EC15EA6F-F6E5-0479-44D0-57A4829411D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17788" y="1236822"/>
            <a:ext cx="4118199" cy="4071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rgbClr val="F6C37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Insert speaker name</a:t>
            </a:r>
            <a:endParaRPr lang="en-IS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00F2E815-4A9F-72CD-9049-7BB8DD671F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17788" y="1643950"/>
            <a:ext cx="4118199" cy="31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Job title</a:t>
            </a:r>
            <a:endParaRPr lang="en-IS"/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B8E0FD1C-81FF-4F39-2AFB-0CDF5C86263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617788" y="1960050"/>
            <a:ext cx="4118199" cy="31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rgbClr val="29B4A9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Job title</a:t>
            </a:r>
            <a:endParaRPr lang="en-IS"/>
          </a:p>
        </p:txBody>
      </p:sp>
    </p:spTree>
    <p:extLst>
      <p:ext uri="{BB962C8B-B14F-4D97-AF65-F5344CB8AC3E}">
        <p14:creationId xmlns:p14="http://schemas.microsoft.com/office/powerpoint/2010/main" val="406017769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peaker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>
            <a:extLst>
              <a:ext uri="{FF2B5EF4-FFF2-40B4-BE49-F238E27FC236}">
                <a16:creationId xmlns:a16="http://schemas.microsoft.com/office/drawing/2014/main" id="{448E058F-DFF2-4523-1214-C4143033F556}"/>
              </a:ext>
            </a:extLst>
          </p:cNvPr>
          <p:cNvSpPr/>
          <p:nvPr userDrawn="1"/>
        </p:nvSpPr>
        <p:spPr>
          <a:xfrm rot="5400000">
            <a:off x="9994552" y="2420846"/>
            <a:ext cx="1398165" cy="2996728"/>
          </a:xfrm>
          <a:prstGeom prst="rect">
            <a:avLst/>
          </a:prstGeom>
          <a:solidFill>
            <a:srgbClr val="9432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7F29889-7A2C-8F94-CAE9-11B28023FC7D}"/>
              </a:ext>
            </a:extLst>
          </p:cNvPr>
          <p:cNvSpPr/>
          <p:nvPr userDrawn="1"/>
        </p:nvSpPr>
        <p:spPr>
          <a:xfrm rot="5400000">
            <a:off x="783611" y="1492915"/>
            <a:ext cx="1398165" cy="2965393"/>
          </a:xfrm>
          <a:prstGeom prst="rect">
            <a:avLst/>
          </a:prstGeom>
          <a:solidFill>
            <a:srgbClr val="29B4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7FAA307-5791-943D-C4EB-9270E7C244E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018618" y="2466490"/>
            <a:ext cx="1912409" cy="1928805"/>
          </a:xfrm>
          <a:prstGeom prst="rect">
            <a:avLst/>
          </a:prstGeom>
          <a:ln>
            <a:gradFill>
              <a:gsLst>
                <a:gs pos="100000">
                  <a:srgbClr val="F6C370">
                    <a:alpha val="0"/>
                  </a:srgbClr>
                </a:gs>
                <a:gs pos="0">
                  <a:srgbClr val="F6C370"/>
                </a:gs>
              </a:gsLst>
              <a:lin ang="5400000" scaled="0"/>
            </a:gradFill>
          </a:ln>
          <a:effectLst>
            <a:outerShdw blurRad="127000" dist="76200" dir="5400000" algn="ctr" rotWithShape="0">
              <a:srgbClr val="000000">
                <a:alpha val="30000"/>
              </a:srgbClr>
            </a:outerShdw>
          </a:effectLst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GB"/>
              <a:t>Click icon to add picture</a:t>
            </a:r>
            <a:endParaRPr lang="en-IS"/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B62BD37-2F52-0A73-67D5-3B0A1BC471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139796" y="187974"/>
            <a:ext cx="1912408" cy="787460"/>
          </a:xfrm>
          <a:prstGeom prst="rect">
            <a:avLst/>
          </a:prstGeom>
        </p:spPr>
      </p:pic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2F43E51A-747A-C23E-E965-ACDDCAD854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88464" y="1157139"/>
            <a:ext cx="10215072" cy="624611"/>
          </a:xfrm>
          <a:prstGeom prst="rect">
            <a:avLst/>
          </a:prstGeom>
        </p:spPr>
        <p:txBody>
          <a:bodyPr anchor="t" anchorCtr="0"/>
          <a:lstStyle>
            <a:lvl1pPr marL="0" indent="0" algn="ctr">
              <a:buNone/>
              <a:defRPr sz="40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Presentation title</a:t>
            </a:r>
            <a:endParaRPr lang="en-IS"/>
          </a:p>
        </p:txBody>
      </p:sp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5414FDC7-DA55-3155-E799-63E04535681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39795" y="2464597"/>
            <a:ext cx="1912409" cy="1928805"/>
          </a:xfrm>
          <a:prstGeom prst="rect">
            <a:avLst/>
          </a:prstGeom>
          <a:ln>
            <a:gradFill>
              <a:gsLst>
                <a:gs pos="100000">
                  <a:srgbClr val="F6C370">
                    <a:alpha val="0"/>
                  </a:srgbClr>
                </a:gs>
                <a:gs pos="0">
                  <a:srgbClr val="F6C370"/>
                </a:gs>
              </a:gsLst>
              <a:lin ang="5400000" scaled="0"/>
            </a:gradFill>
          </a:ln>
          <a:effectLst>
            <a:outerShdw blurRad="127000" dist="76200" dir="5400000" algn="ctr" rotWithShape="0">
              <a:srgbClr val="000000">
                <a:alpha val="30000"/>
              </a:srgbClr>
            </a:outerShdw>
          </a:effectLst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GB"/>
              <a:t>Click icon to add picture</a:t>
            </a:r>
            <a:endParaRPr lang="en-IS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EC15EA6F-F6E5-0479-44D0-57A4829411D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98516" y="4758267"/>
            <a:ext cx="2832464" cy="40712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1">
                <a:solidFill>
                  <a:srgbClr val="F6C37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Insert speaker name</a:t>
            </a:r>
            <a:endParaRPr lang="en-IS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00F2E815-4A9F-72CD-9049-7BB8DD671F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798516" y="5165395"/>
            <a:ext cx="2832464" cy="3161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Job title</a:t>
            </a:r>
            <a:endParaRPr lang="en-IS"/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B8E0FD1C-81FF-4F39-2AFB-0CDF5C86263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98516" y="5481495"/>
            <a:ext cx="2832464" cy="3161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" b="0">
                <a:solidFill>
                  <a:srgbClr val="29B4A9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Email address</a:t>
            </a:r>
            <a:endParaRPr lang="en-IS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5A8BCD7E-DA6F-A5C8-8FD9-EC3FB730E0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260972" y="2464597"/>
            <a:ext cx="1912409" cy="1928805"/>
          </a:xfrm>
          <a:prstGeom prst="rect">
            <a:avLst/>
          </a:prstGeom>
          <a:ln>
            <a:gradFill>
              <a:gsLst>
                <a:gs pos="100000">
                  <a:srgbClr val="F6C370">
                    <a:alpha val="0"/>
                  </a:srgbClr>
                </a:gs>
                <a:gs pos="0">
                  <a:srgbClr val="F6C370"/>
                </a:gs>
              </a:gsLst>
              <a:lin ang="5400000" scaled="0"/>
            </a:gradFill>
          </a:ln>
          <a:effectLst>
            <a:outerShdw blurRad="127000" dist="76200" dir="5400000" algn="ctr" rotWithShape="0">
              <a:srgbClr val="000000">
                <a:alpha val="30000"/>
              </a:srgbClr>
            </a:outerShdw>
          </a:effectLst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GB"/>
              <a:t>Click icon to add picture</a:t>
            </a:r>
            <a:endParaRPr lang="en-IS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05554ADB-A1BB-EA53-7906-7F8EE8EDD68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79740" y="4758267"/>
            <a:ext cx="2832464" cy="40712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1">
                <a:solidFill>
                  <a:srgbClr val="F6C37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Insert speaker name</a:t>
            </a:r>
            <a:endParaRPr lang="en-IS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5D14A476-A3B5-445D-E682-F91E17B8FA9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79740" y="5165395"/>
            <a:ext cx="2832464" cy="3161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Job title</a:t>
            </a:r>
            <a:endParaRPr lang="en-IS"/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D45E67C5-13D8-3059-4CE7-FC711CAF8F3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679740" y="5481495"/>
            <a:ext cx="2832464" cy="3161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" b="0">
                <a:solidFill>
                  <a:srgbClr val="29B4A9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Email address</a:t>
            </a:r>
            <a:endParaRPr lang="en-IS"/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8ABE284B-E079-CDAF-8277-72A9FF70E9C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553222" y="4758267"/>
            <a:ext cx="2832464" cy="40712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1">
                <a:solidFill>
                  <a:srgbClr val="F6C37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Insert speaker name</a:t>
            </a:r>
            <a:endParaRPr lang="en-IS"/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43509816-BCD1-C310-A99A-936A3635752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53222" y="5165395"/>
            <a:ext cx="2832464" cy="3161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Job title</a:t>
            </a:r>
            <a:endParaRPr lang="en-IS"/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8134047A-EF15-C520-19EA-E6527EDC169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553222" y="5481495"/>
            <a:ext cx="2832464" cy="3161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" b="0">
                <a:solidFill>
                  <a:srgbClr val="29B4A9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Email address</a:t>
            </a:r>
            <a:endParaRPr lang="en-IS"/>
          </a:p>
        </p:txBody>
      </p:sp>
    </p:spTree>
    <p:extLst>
      <p:ext uri="{BB962C8B-B14F-4D97-AF65-F5344CB8AC3E}">
        <p14:creationId xmlns:p14="http://schemas.microsoft.com/office/powerpoint/2010/main" val="137416057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/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2">
            <a:extLst>
              <a:ext uri="{FF2B5EF4-FFF2-40B4-BE49-F238E27FC236}">
                <a16:creationId xmlns:a16="http://schemas.microsoft.com/office/drawing/2014/main" id="{C297E935-941E-9C2F-563D-E91D013A6E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291" y="488601"/>
            <a:ext cx="9444644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>
                <a:solidFill>
                  <a:srgbClr val="F6C370"/>
                </a:solidFill>
              </a:defRPr>
            </a:lvl1pPr>
          </a:lstStyle>
          <a:p>
            <a:r>
              <a:rPr lang="en-GB"/>
              <a:t>Insert title</a:t>
            </a:r>
            <a:endParaRPr lang="en-I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9C23583-BBD0-A2D8-FBC2-A8930216CC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0291" y="1419225"/>
            <a:ext cx="7667118" cy="4673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S"/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3693C68B-963A-4A71-9ABC-F3D44ED76C6A}"/>
              </a:ext>
            </a:extLst>
          </p:cNvPr>
          <p:cNvSpPr/>
          <p:nvPr userDrawn="1"/>
        </p:nvSpPr>
        <p:spPr>
          <a:xfrm flipH="1">
            <a:off x="7798859" y="2469734"/>
            <a:ext cx="4393140" cy="4393139"/>
          </a:xfrm>
          <a:custGeom>
            <a:avLst/>
            <a:gdLst>
              <a:gd name="connsiteX0" fmla="*/ 0 w 5369483"/>
              <a:gd name="connsiteY0" fmla="*/ 0 h 5369482"/>
              <a:gd name="connsiteX1" fmla="*/ 5369483 w 5369483"/>
              <a:gd name="connsiteY1" fmla="*/ 5369482 h 5369482"/>
              <a:gd name="connsiteX2" fmla="*/ 2251404 w 5369483"/>
              <a:gd name="connsiteY2" fmla="*/ 5369482 h 5369482"/>
              <a:gd name="connsiteX3" fmla="*/ 0 w 5369483"/>
              <a:gd name="connsiteY3" fmla="*/ 3118079 h 53694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69483" h="5369482">
                <a:moveTo>
                  <a:pt x="0" y="0"/>
                </a:moveTo>
                <a:lnTo>
                  <a:pt x="5369483" y="5369482"/>
                </a:lnTo>
                <a:lnTo>
                  <a:pt x="2251404" y="5369482"/>
                </a:lnTo>
                <a:lnTo>
                  <a:pt x="0" y="3118079"/>
                </a:lnTo>
                <a:close/>
              </a:path>
            </a:pathLst>
          </a:custGeom>
          <a:solidFill>
            <a:srgbClr val="29B4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473C5EEF-A015-C555-A3A3-969AB1ADE4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065064" y="176833"/>
            <a:ext cx="1966516" cy="809741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7111868-D038-7F36-D312-2D4C785095ED}"/>
              </a:ext>
            </a:extLst>
          </p:cNvPr>
          <p:cNvCxnSpPr>
            <a:cxnSpLocks/>
          </p:cNvCxnSpPr>
          <p:nvPr userDrawn="1"/>
        </p:nvCxnSpPr>
        <p:spPr>
          <a:xfrm flipH="1">
            <a:off x="7609474" y="3495230"/>
            <a:ext cx="3362771" cy="3362770"/>
          </a:xfrm>
          <a:prstGeom prst="line">
            <a:avLst/>
          </a:prstGeom>
          <a:ln w="9525">
            <a:solidFill>
              <a:srgbClr val="F6C3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E5D5313-2DAA-3F9F-09F9-5CA20372B46E}"/>
              </a:ext>
            </a:extLst>
          </p:cNvPr>
          <p:cNvCxnSpPr>
            <a:cxnSpLocks/>
          </p:cNvCxnSpPr>
          <p:nvPr userDrawn="1"/>
        </p:nvCxnSpPr>
        <p:spPr>
          <a:xfrm flipH="1">
            <a:off x="11391544" y="5204389"/>
            <a:ext cx="785657" cy="785657"/>
          </a:xfrm>
          <a:prstGeom prst="line">
            <a:avLst/>
          </a:prstGeom>
          <a:ln w="9525">
            <a:solidFill>
              <a:srgbClr val="F6C3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131150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Chapt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E4A9DCC3-E8D7-C445-85E9-C6F9EC110461}"/>
              </a:ext>
            </a:extLst>
          </p:cNvPr>
          <p:cNvSpPr/>
          <p:nvPr userDrawn="1"/>
        </p:nvSpPr>
        <p:spPr>
          <a:xfrm rot="8100000">
            <a:off x="3886857" y="1415805"/>
            <a:ext cx="4418286" cy="4418286"/>
          </a:xfrm>
          <a:prstGeom prst="rect">
            <a:avLst/>
          </a:prstGeom>
          <a:gradFill>
            <a:gsLst>
              <a:gs pos="100000">
                <a:srgbClr val="361D5C">
                  <a:alpha val="0"/>
                </a:srgbClr>
              </a:gs>
              <a:gs pos="0">
                <a:srgbClr val="361D5C">
                  <a:alpha val="0"/>
                </a:srgbClr>
              </a:gs>
              <a:gs pos="50000">
                <a:srgbClr val="361D5C">
                  <a:alpha val="50188"/>
                </a:srgbClr>
              </a:gs>
            </a:gsLst>
            <a:lin ang="81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C661F3E-648B-5740-9E11-DC433187044F}"/>
              </a:ext>
            </a:extLst>
          </p:cNvPr>
          <p:cNvSpPr/>
          <p:nvPr userDrawn="1"/>
        </p:nvSpPr>
        <p:spPr>
          <a:xfrm rot="13500000">
            <a:off x="1410758" y="1111004"/>
            <a:ext cx="4418286" cy="4418286"/>
          </a:xfrm>
          <a:prstGeom prst="rect">
            <a:avLst/>
          </a:prstGeom>
          <a:gradFill>
            <a:gsLst>
              <a:gs pos="100000">
                <a:srgbClr val="361D5C">
                  <a:alpha val="0"/>
                </a:srgbClr>
              </a:gs>
              <a:gs pos="0">
                <a:srgbClr val="361D5C">
                  <a:alpha val="0"/>
                </a:srgbClr>
              </a:gs>
              <a:gs pos="50000">
                <a:srgbClr val="361D5C">
                  <a:alpha val="49617"/>
                </a:srgbClr>
              </a:gs>
            </a:gsLst>
            <a:lin ang="81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CE0B896-631A-C948-B929-910A701FAD6F}"/>
              </a:ext>
            </a:extLst>
          </p:cNvPr>
          <p:cNvSpPr/>
          <p:nvPr userDrawn="1"/>
        </p:nvSpPr>
        <p:spPr>
          <a:xfrm rot="13500000">
            <a:off x="6362956" y="1111004"/>
            <a:ext cx="4418286" cy="4418286"/>
          </a:xfrm>
          <a:prstGeom prst="rect">
            <a:avLst/>
          </a:prstGeom>
          <a:gradFill>
            <a:gsLst>
              <a:gs pos="100000">
                <a:srgbClr val="361D5C">
                  <a:alpha val="0"/>
                </a:srgbClr>
              </a:gs>
              <a:gs pos="0">
                <a:srgbClr val="361D5C">
                  <a:alpha val="0"/>
                </a:srgbClr>
              </a:gs>
              <a:gs pos="50000">
                <a:srgbClr val="361D5C">
                  <a:alpha val="49419"/>
                </a:srgbClr>
              </a:gs>
            </a:gsLst>
            <a:lin ang="81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8F0458-666E-B242-AA9B-31C770B5EB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36601" y="2836191"/>
            <a:ext cx="10718799" cy="118562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4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Insert title</a:t>
            </a:r>
            <a:endParaRPr lang="en-I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5908F9F-CF4A-EE46-A4B1-7A9A1E3B8B7E}"/>
              </a:ext>
            </a:extLst>
          </p:cNvPr>
          <p:cNvCxnSpPr/>
          <p:nvPr userDrawn="1"/>
        </p:nvCxnSpPr>
        <p:spPr>
          <a:xfrm>
            <a:off x="5181600" y="1761223"/>
            <a:ext cx="914400" cy="914400"/>
          </a:xfrm>
          <a:prstGeom prst="line">
            <a:avLst/>
          </a:prstGeom>
          <a:ln>
            <a:gradFill>
              <a:gsLst>
                <a:gs pos="0">
                  <a:srgbClr val="F6C370">
                    <a:alpha val="0"/>
                  </a:srgbClr>
                </a:gs>
                <a:gs pos="99000">
                  <a:srgbClr val="F6C370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0042CFF-054F-7944-83F4-1B876D680DE6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6000" y="195948"/>
            <a:ext cx="2479675" cy="2479675"/>
          </a:xfrm>
          <a:prstGeom prst="line">
            <a:avLst/>
          </a:prstGeom>
          <a:ln>
            <a:gradFill>
              <a:gsLst>
                <a:gs pos="0">
                  <a:srgbClr val="F6C370">
                    <a:alpha val="0"/>
                  </a:srgbClr>
                </a:gs>
                <a:gs pos="100000">
                  <a:srgbClr val="F6C370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54E7318-290F-804F-A213-55E78B5F26C0}"/>
              </a:ext>
            </a:extLst>
          </p:cNvPr>
          <p:cNvCxnSpPr>
            <a:cxnSpLocks/>
          </p:cNvCxnSpPr>
          <p:nvPr userDrawn="1"/>
        </p:nvCxnSpPr>
        <p:spPr>
          <a:xfrm>
            <a:off x="4718094" y="5348611"/>
            <a:ext cx="457200" cy="457200"/>
          </a:xfrm>
          <a:prstGeom prst="line">
            <a:avLst/>
          </a:prstGeom>
          <a:ln>
            <a:gradFill>
              <a:gsLst>
                <a:gs pos="0">
                  <a:srgbClr val="F6C370"/>
                </a:gs>
                <a:gs pos="100000">
                  <a:srgbClr val="F6C370">
                    <a:alpha val="0"/>
                  </a:srgb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067B4A9-8EE8-D347-A11A-408131288CDC}"/>
              </a:ext>
            </a:extLst>
          </p:cNvPr>
          <p:cNvCxnSpPr>
            <a:cxnSpLocks/>
          </p:cNvCxnSpPr>
          <p:nvPr userDrawn="1"/>
        </p:nvCxnSpPr>
        <p:spPr>
          <a:xfrm flipH="1">
            <a:off x="7897368" y="4649076"/>
            <a:ext cx="2479675" cy="2479675"/>
          </a:xfrm>
          <a:prstGeom prst="line">
            <a:avLst/>
          </a:prstGeom>
          <a:ln>
            <a:gradFill>
              <a:gsLst>
                <a:gs pos="0">
                  <a:srgbClr val="F6C370">
                    <a:alpha val="0"/>
                  </a:srgbClr>
                </a:gs>
                <a:gs pos="99000">
                  <a:srgbClr val="F6C370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767C67B9-5ED3-1347-A4EF-E127B283F0FD}"/>
              </a:ext>
            </a:extLst>
          </p:cNvPr>
          <p:cNvCxnSpPr>
            <a:cxnSpLocks/>
          </p:cNvCxnSpPr>
          <p:nvPr userDrawn="1"/>
        </p:nvCxnSpPr>
        <p:spPr>
          <a:xfrm flipH="1">
            <a:off x="1848335" y="195948"/>
            <a:ext cx="1772290" cy="1772290"/>
          </a:xfrm>
          <a:prstGeom prst="line">
            <a:avLst/>
          </a:prstGeom>
          <a:ln>
            <a:gradFill>
              <a:gsLst>
                <a:gs pos="99000">
                  <a:srgbClr val="F6C370">
                    <a:alpha val="0"/>
                  </a:srgbClr>
                </a:gs>
                <a:gs pos="0">
                  <a:srgbClr val="F6C370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1BB83C5D-63B4-D04E-B9A2-0530B8F968A5}"/>
              </a:ext>
            </a:extLst>
          </p:cNvPr>
          <p:cNvCxnSpPr>
            <a:cxnSpLocks/>
          </p:cNvCxnSpPr>
          <p:nvPr userDrawn="1"/>
        </p:nvCxnSpPr>
        <p:spPr>
          <a:xfrm flipV="1">
            <a:off x="3628716" y="5348612"/>
            <a:ext cx="1089377" cy="1089377"/>
          </a:xfrm>
          <a:prstGeom prst="line">
            <a:avLst/>
          </a:prstGeom>
          <a:ln>
            <a:gradFill>
              <a:gsLst>
                <a:gs pos="0">
                  <a:srgbClr val="F6C370">
                    <a:alpha val="0"/>
                  </a:srgbClr>
                </a:gs>
                <a:gs pos="99000">
                  <a:srgbClr val="F6C370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Graphic 23">
            <a:extLst>
              <a:ext uri="{FF2B5EF4-FFF2-40B4-BE49-F238E27FC236}">
                <a16:creationId xmlns:a16="http://schemas.microsoft.com/office/drawing/2014/main" id="{2442B894-80B9-CF46-9923-AA26009B51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813959" y="394661"/>
            <a:ext cx="2564084" cy="1055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738298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Chapt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5E2FD613-0ADB-094F-9CD2-554E6C78DC68}"/>
              </a:ext>
            </a:extLst>
          </p:cNvPr>
          <p:cNvSpPr/>
          <p:nvPr userDrawn="1"/>
        </p:nvSpPr>
        <p:spPr>
          <a:xfrm rot="8100000">
            <a:off x="2800105" y="1415806"/>
            <a:ext cx="4418286" cy="4418286"/>
          </a:xfrm>
          <a:prstGeom prst="rect">
            <a:avLst/>
          </a:prstGeom>
          <a:gradFill>
            <a:gsLst>
              <a:gs pos="100000">
                <a:srgbClr val="361D5C">
                  <a:alpha val="0"/>
                </a:srgbClr>
              </a:gs>
              <a:gs pos="0">
                <a:srgbClr val="361D5C">
                  <a:alpha val="0"/>
                </a:srgbClr>
              </a:gs>
              <a:gs pos="50000">
                <a:srgbClr val="361D5C">
                  <a:alpha val="49602"/>
                </a:srgbClr>
              </a:gs>
            </a:gsLst>
            <a:lin ang="81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9687BCB-1984-9B41-98BA-0B729407F26B}"/>
              </a:ext>
            </a:extLst>
          </p:cNvPr>
          <p:cNvSpPr/>
          <p:nvPr userDrawn="1"/>
        </p:nvSpPr>
        <p:spPr>
          <a:xfrm rot="13500000">
            <a:off x="1410758" y="1111004"/>
            <a:ext cx="4418286" cy="4418286"/>
          </a:xfrm>
          <a:prstGeom prst="rect">
            <a:avLst/>
          </a:prstGeom>
          <a:gradFill>
            <a:gsLst>
              <a:gs pos="100000">
                <a:srgbClr val="361D5C">
                  <a:alpha val="0"/>
                </a:srgbClr>
              </a:gs>
              <a:gs pos="0">
                <a:srgbClr val="361D5C">
                  <a:alpha val="0"/>
                </a:srgbClr>
              </a:gs>
              <a:gs pos="49000">
                <a:srgbClr val="361D5C">
                  <a:alpha val="50137"/>
                </a:srgbClr>
              </a:gs>
            </a:gsLst>
            <a:lin ang="81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sp>
        <p:nvSpPr>
          <p:cNvPr id="30" name="Freeform 29">
            <a:extLst>
              <a:ext uri="{FF2B5EF4-FFF2-40B4-BE49-F238E27FC236}">
                <a16:creationId xmlns:a16="http://schemas.microsoft.com/office/drawing/2014/main" id="{FAB0322F-4592-16FF-E490-7890B20626E6}"/>
              </a:ext>
            </a:extLst>
          </p:cNvPr>
          <p:cNvSpPr/>
          <p:nvPr userDrawn="1"/>
        </p:nvSpPr>
        <p:spPr>
          <a:xfrm>
            <a:off x="-5914" y="1493392"/>
            <a:ext cx="5369483" cy="5369482"/>
          </a:xfrm>
          <a:custGeom>
            <a:avLst/>
            <a:gdLst>
              <a:gd name="connsiteX0" fmla="*/ 0 w 5369483"/>
              <a:gd name="connsiteY0" fmla="*/ 0 h 5369482"/>
              <a:gd name="connsiteX1" fmla="*/ 5369483 w 5369483"/>
              <a:gd name="connsiteY1" fmla="*/ 5369482 h 5369482"/>
              <a:gd name="connsiteX2" fmla="*/ 2251404 w 5369483"/>
              <a:gd name="connsiteY2" fmla="*/ 5369482 h 5369482"/>
              <a:gd name="connsiteX3" fmla="*/ 0 w 5369483"/>
              <a:gd name="connsiteY3" fmla="*/ 3118079 h 53694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69483" h="5369482">
                <a:moveTo>
                  <a:pt x="0" y="0"/>
                </a:moveTo>
                <a:lnTo>
                  <a:pt x="5369483" y="5369482"/>
                </a:lnTo>
                <a:lnTo>
                  <a:pt x="2251404" y="5369482"/>
                </a:lnTo>
                <a:lnTo>
                  <a:pt x="0" y="3118079"/>
                </a:lnTo>
                <a:close/>
              </a:path>
            </a:pathLst>
          </a:custGeom>
          <a:solidFill>
            <a:srgbClr val="29B4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7566114-CC2C-8545-955D-F090D7E9F93D}"/>
              </a:ext>
            </a:extLst>
          </p:cNvPr>
          <p:cNvSpPr/>
          <p:nvPr userDrawn="1"/>
        </p:nvSpPr>
        <p:spPr>
          <a:xfrm rot="8100000">
            <a:off x="3886857" y="1415805"/>
            <a:ext cx="4418286" cy="4418286"/>
          </a:xfrm>
          <a:prstGeom prst="rect">
            <a:avLst/>
          </a:prstGeom>
          <a:gradFill>
            <a:gsLst>
              <a:gs pos="100000">
                <a:srgbClr val="361D5C">
                  <a:alpha val="0"/>
                </a:srgbClr>
              </a:gs>
              <a:gs pos="0">
                <a:srgbClr val="361D5C">
                  <a:alpha val="0"/>
                </a:srgbClr>
              </a:gs>
              <a:gs pos="50000">
                <a:srgbClr val="361D5C">
                  <a:alpha val="49796"/>
                </a:srgbClr>
              </a:gs>
            </a:gsLst>
            <a:lin ang="81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BF7237B-B27F-0248-B221-E849A67812A1}"/>
              </a:ext>
            </a:extLst>
          </p:cNvPr>
          <p:cNvSpPr/>
          <p:nvPr userDrawn="1"/>
        </p:nvSpPr>
        <p:spPr>
          <a:xfrm rot="13500000">
            <a:off x="6362956" y="1111004"/>
            <a:ext cx="4418286" cy="4418286"/>
          </a:xfrm>
          <a:prstGeom prst="rect">
            <a:avLst/>
          </a:prstGeom>
          <a:gradFill>
            <a:gsLst>
              <a:gs pos="100000">
                <a:srgbClr val="361D5C">
                  <a:alpha val="0"/>
                </a:srgbClr>
              </a:gs>
              <a:gs pos="0">
                <a:srgbClr val="361D5C">
                  <a:alpha val="0"/>
                </a:srgbClr>
              </a:gs>
              <a:gs pos="50000">
                <a:srgbClr val="361D5C">
                  <a:alpha val="49682"/>
                </a:srgbClr>
              </a:gs>
            </a:gsLst>
            <a:lin ang="81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6AC0B01-776C-864C-ABD8-1970F34FFF1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51481" y="711051"/>
            <a:ext cx="5916694" cy="5916694"/>
          </a:xfrm>
          <a:prstGeom prst="diamond">
            <a:avLst/>
          </a:prstGeom>
          <a:ln>
            <a:gradFill>
              <a:gsLst>
                <a:gs pos="0">
                  <a:srgbClr val="F6C370"/>
                </a:gs>
                <a:gs pos="100000">
                  <a:srgbClr val="F6C370">
                    <a:alpha val="0"/>
                  </a:srgbClr>
                </a:gs>
              </a:gsLst>
              <a:lin ang="5400000" scaled="1"/>
            </a:gradFill>
          </a:ln>
          <a:effectLst>
            <a:outerShdw blurRad="152400" dist="101600" dir="5400000" algn="ctr" rotWithShape="0">
              <a:srgbClr val="000000">
                <a:alpha val="34687"/>
              </a:srgbClr>
            </a:outerShdw>
          </a:effectLst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S"/>
              <a:t>Insert pictu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8F0458-666E-B242-AA9B-31C770B5EB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0" y="4720343"/>
            <a:ext cx="5605219" cy="1185620"/>
          </a:xfrm>
          <a:prstGeom prst="rect">
            <a:avLst/>
          </a:prstGeom>
        </p:spPr>
        <p:txBody>
          <a:bodyPr anchor="t" anchorCtr="0"/>
          <a:lstStyle>
            <a:lvl1pPr marL="0" indent="0" algn="ctr">
              <a:buNone/>
              <a:defRPr sz="40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Insert title</a:t>
            </a:r>
            <a:endParaRPr lang="en-I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4DD9236-912C-344B-9E5C-FA71BC0D7733}"/>
              </a:ext>
            </a:extLst>
          </p:cNvPr>
          <p:cNvCxnSpPr>
            <a:cxnSpLocks/>
          </p:cNvCxnSpPr>
          <p:nvPr userDrawn="1"/>
        </p:nvCxnSpPr>
        <p:spPr>
          <a:xfrm>
            <a:off x="6672875" y="1073461"/>
            <a:ext cx="515408" cy="515408"/>
          </a:xfrm>
          <a:prstGeom prst="line">
            <a:avLst/>
          </a:prstGeom>
          <a:ln>
            <a:gradFill>
              <a:gsLst>
                <a:gs pos="0">
                  <a:srgbClr val="F6C370">
                    <a:alpha val="0"/>
                  </a:srgbClr>
                </a:gs>
                <a:gs pos="99000">
                  <a:srgbClr val="F6C370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EDE2553-0A96-BE4B-BB2B-76B1728C21C7}"/>
              </a:ext>
            </a:extLst>
          </p:cNvPr>
          <p:cNvCxnSpPr>
            <a:cxnSpLocks/>
          </p:cNvCxnSpPr>
          <p:nvPr userDrawn="1"/>
        </p:nvCxnSpPr>
        <p:spPr>
          <a:xfrm flipH="1">
            <a:off x="7182754" y="317350"/>
            <a:ext cx="1266294" cy="1266294"/>
          </a:xfrm>
          <a:prstGeom prst="line">
            <a:avLst/>
          </a:prstGeom>
          <a:ln>
            <a:gradFill>
              <a:gsLst>
                <a:gs pos="0">
                  <a:srgbClr val="F6C370">
                    <a:alpha val="0"/>
                  </a:srgbClr>
                </a:gs>
                <a:gs pos="99000">
                  <a:srgbClr val="F6C370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C6DC063-E0B5-5C4C-A6BB-44D3156187FC}"/>
              </a:ext>
            </a:extLst>
          </p:cNvPr>
          <p:cNvCxnSpPr>
            <a:cxnSpLocks/>
          </p:cNvCxnSpPr>
          <p:nvPr userDrawn="1"/>
        </p:nvCxnSpPr>
        <p:spPr>
          <a:xfrm flipV="1">
            <a:off x="11026775" y="3322111"/>
            <a:ext cx="674445" cy="674445"/>
          </a:xfrm>
          <a:prstGeom prst="line">
            <a:avLst/>
          </a:prstGeom>
          <a:ln>
            <a:gradFill>
              <a:gsLst>
                <a:gs pos="0">
                  <a:srgbClr val="F6C370">
                    <a:alpha val="0"/>
                  </a:srgbClr>
                </a:gs>
                <a:gs pos="99000">
                  <a:srgbClr val="F6C370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CE8CBB6-B3C4-D14C-8D91-B662FC73557E}"/>
              </a:ext>
            </a:extLst>
          </p:cNvPr>
          <p:cNvCxnSpPr>
            <a:cxnSpLocks/>
          </p:cNvCxnSpPr>
          <p:nvPr userDrawn="1"/>
        </p:nvCxnSpPr>
        <p:spPr>
          <a:xfrm>
            <a:off x="10031896" y="1652788"/>
            <a:ext cx="1669323" cy="1669323"/>
          </a:xfrm>
          <a:prstGeom prst="line">
            <a:avLst/>
          </a:prstGeom>
          <a:ln>
            <a:gradFill>
              <a:gsLst>
                <a:gs pos="0">
                  <a:srgbClr val="F6C370">
                    <a:alpha val="0"/>
                  </a:srgbClr>
                </a:gs>
                <a:gs pos="99000">
                  <a:srgbClr val="F6C370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Graphic 16">
            <a:extLst>
              <a:ext uri="{FF2B5EF4-FFF2-40B4-BE49-F238E27FC236}">
                <a16:creationId xmlns:a16="http://schemas.microsoft.com/office/drawing/2014/main" id="{196931CC-F0F5-8E10-BD0E-9A1AC5B0A30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187671" y="2303488"/>
            <a:ext cx="3421876" cy="1409006"/>
          </a:xfrm>
          <a:prstGeom prst="rect">
            <a:avLst/>
          </a:prstGeom>
        </p:spPr>
      </p:pic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074B519A-3357-1943-878B-4FE463E1C5CD}"/>
              </a:ext>
            </a:extLst>
          </p:cNvPr>
          <p:cNvCxnSpPr>
            <a:cxnSpLocks/>
          </p:cNvCxnSpPr>
          <p:nvPr userDrawn="1"/>
        </p:nvCxnSpPr>
        <p:spPr>
          <a:xfrm flipH="1">
            <a:off x="-110123" y="201699"/>
            <a:ext cx="3720821" cy="3720821"/>
          </a:xfrm>
          <a:prstGeom prst="line">
            <a:avLst/>
          </a:prstGeom>
          <a:ln>
            <a:gradFill>
              <a:gsLst>
                <a:gs pos="99000">
                  <a:srgbClr val="F6C370">
                    <a:alpha val="0"/>
                  </a:srgbClr>
                </a:gs>
                <a:gs pos="0">
                  <a:srgbClr val="F6C370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647222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Chapter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B67A1442-0956-8C46-8669-1C486AAC27DD}"/>
              </a:ext>
            </a:extLst>
          </p:cNvPr>
          <p:cNvSpPr/>
          <p:nvPr userDrawn="1"/>
        </p:nvSpPr>
        <p:spPr>
          <a:xfrm rot="8100000">
            <a:off x="3886857" y="1399476"/>
            <a:ext cx="4418286" cy="4418286"/>
          </a:xfrm>
          <a:prstGeom prst="rect">
            <a:avLst/>
          </a:prstGeom>
          <a:gradFill>
            <a:gsLst>
              <a:gs pos="99000">
                <a:srgbClr val="361D5C">
                  <a:alpha val="0"/>
                </a:srgbClr>
              </a:gs>
              <a:gs pos="0">
                <a:srgbClr val="361D5C">
                  <a:alpha val="50000"/>
                </a:srgbClr>
              </a:gs>
              <a:gs pos="50000">
                <a:srgbClr val="361D5C">
                  <a:alpha val="50000"/>
                </a:srgbClr>
              </a:gs>
            </a:gsLst>
            <a:lin ang="81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32B65B3-96F2-F64C-91C0-8BEF156AFC47}"/>
              </a:ext>
            </a:extLst>
          </p:cNvPr>
          <p:cNvSpPr/>
          <p:nvPr userDrawn="1"/>
        </p:nvSpPr>
        <p:spPr>
          <a:xfrm rot="13500000">
            <a:off x="1410758" y="1094675"/>
            <a:ext cx="4418286" cy="4418286"/>
          </a:xfrm>
          <a:prstGeom prst="rect">
            <a:avLst/>
          </a:prstGeom>
          <a:gradFill>
            <a:gsLst>
              <a:gs pos="100000">
                <a:srgbClr val="361D5C">
                  <a:alpha val="0"/>
                </a:srgbClr>
              </a:gs>
              <a:gs pos="0">
                <a:srgbClr val="361D5C">
                  <a:alpha val="0"/>
                </a:srgbClr>
              </a:gs>
              <a:gs pos="50000">
                <a:srgbClr val="361D5C">
                  <a:alpha val="49879"/>
                </a:srgbClr>
              </a:gs>
            </a:gsLst>
            <a:lin ang="81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8CF6FC87-6D3A-16B0-0EC5-B3A8870707A1}"/>
              </a:ext>
            </a:extLst>
          </p:cNvPr>
          <p:cNvSpPr/>
          <p:nvPr userDrawn="1"/>
        </p:nvSpPr>
        <p:spPr>
          <a:xfrm rot="5400000">
            <a:off x="1930863" y="-412993"/>
            <a:ext cx="2981370" cy="3799797"/>
          </a:xfrm>
          <a:custGeom>
            <a:avLst/>
            <a:gdLst>
              <a:gd name="connsiteX0" fmla="*/ 0 w 2981370"/>
              <a:gd name="connsiteY0" fmla="*/ 3799797 h 3799797"/>
              <a:gd name="connsiteX1" fmla="*/ 0 w 2981370"/>
              <a:gd name="connsiteY1" fmla="*/ 2162942 h 3799797"/>
              <a:gd name="connsiteX2" fmla="*/ 2162942 w 2981370"/>
              <a:gd name="connsiteY2" fmla="*/ 0 h 3799797"/>
              <a:gd name="connsiteX3" fmla="*/ 2981370 w 2981370"/>
              <a:gd name="connsiteY3" fmla="*/ 818428 h 3799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81370" h="3799797">
                <a:moveTo>
                  <a:pt x="0" y="3799797"/>
                </a:moveTo>
                <a:lnTo>
                  <a:pt x="0" y="2162942"/>
                </a:lnTo>
                <a:lnTo>
                  <a:pt x="2162942" y="0"/>
                </a:lnTo>
                <a:lnTo>
                  <a:pt x="2981370" y="818428"/>
                </a:lnTo>
                <a:close/>
              </a:path>
            </a:pathLst>
          </a:custGeom>
          <a:solidFill>
            <a:srgbClr val="29B4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S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09284C5-3949-7600-4D9E-3B5204E3BCC1}"/>
              </a:ext>
            </a:extLst>
          </p:cNvPr>
          <p:cNvSpPr/>
          <p:nvPr userDrawn="1"/>
        </p:nvSpPr>
        <p:spPr>
          <a:xfrm>
            <a:off x="6596190" y="3479262"/>
            <a:ext cx="5062805" cy="3378738"/>
          </a:xfrm>
          <a:custGeom>
            <a:avLst/>
            <a:gdLst>
              <a:gd name="connsiteX0" fmla="*/ 3378738 w 5062805"/>
              <a:gd name="connsiteY0" fmla="*/ 0 h 3378738"/>
              <a:gd name="connsiteX1" fmla="*/ 5062805 w 5062805"/>
              <a:gd name="connsiteY1" fmla="*/ 1684068 h 3378738"/>
              <a:gd name="connsiteX2" fmla="*/ 3368135 w 5062805"/>
              <a:gd name="connsiteY2" fmla="*/ 3378738 h 3378738"/>
              <a:gd name="connsiteX3" fmla="*/ 0 w 5062805"/>
              <a:gd name="connsiteY3" fmla="*/ 3378738 h 3378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62805" h="3378738">
                <a:moveTo>
                  <a:pt x="3378738" y="0"/>
                </a:moveTo>
                <a:lnTo>
                  <a:pt x="5062805" y="1684068"/>
                </a:lnTo>
                <a:lnTo>
                  <a:pt x="3368135" y="3378738"/>
                </a:lnTo>
                <a:lnTo>
                  <a:pt x="0" y="3378738"/>
                </a:lnTo>
                <a:close/>
              </a:path>
            </a:pathLst>
          </a:custGeom>
          <a:solidFill>
            <a:srgbClr val="9432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EF3E88F-190A-2B4A-9C4B-83B6B74851BB}"/>
              </a:ext>
            </a:extLst>
          </p:cNvPr>
          <p:cNvSpPr/>
          <p:nvPr userDrawn="1"/>
        </p:nvSpPr>
        <p:spPr>
          <a:xfrm rot="13500000">
            <a:off x="6362956" y="1094675"/>
            <a:ext cx="4418286" cy="4418286"/>
          </a:xfrm>
          <a:prstGeom prst="rect">
            <a:avLst/>
          </a:prstGeom>
          <a:gradFill>
            <a:gsLst>
              <a:gs pos="99000">
                <a:srgbClr val="361D5C">
                  <a:alpha val="0"/>
                </a:srgbClr>
              </a:gs>
              <a:gs pos="0">
                <a:srgbClr val="361D5C">
                  <a:alpha val="0"/>
                </a:srgbClr>
              </a:gs>
              <a:gs pos="49000">
                <a:srgbClr val="361D5C">
                  <a:alpha val="50000"/>
                </a:srgbClr>
              </a:gs>
            </a:gsLst>
            <a:lin ang="81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6AC0B01-776C-864C-ABD8-1970F34FFF1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620296" y="694722"/>
            <a:ext cx="5916694" cy="5916694"/>
          </a:xfrm>
          <a:prstGeom prst="diamond">
            <a:avLst/>
          </a:prstGeom>
          <a:ln>
            <a:gradFill>
              <a:gsLst>
                <a:gs pos="1000">
                  <a:srgbClr val="F6C370"/>
                </a:gs>
                <a:gs pos="100000">
                  <a:srgbClr val="F6C370">
                    <a:alpha val="0"/>
                  </a:srgbClr>
                </a:gs>
              </a:gsLst>
              <a:lin ang="5400000" scaled="1"/>
            </a:gradFill>
          </a:ln>
          <a:effectLst>
            <a:outerShdw blurRad="152400" dist="101600" dir="5400000" algn="ctr" rotWithShape="0">
              <a:srgbClr val="000000">
                <a:alpha val="34687"/>
              </a:srgbClr>
            </a:outerShdw>
          </a:effectLst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S"/>
              <a:t>Insert pictu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8F0458-666E-B242-AA9B-31C770B5EB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3715" y="5367517"/>
            <a:ext cx="5605219" cy="1185620"/>
          </a:xfrm>
          <a:prstGeom prst="rect">
            <a:avLst/>
          </a:prstGeom>
        </p:spPr>
        <p:txBody>
          <a:bodyPr anchor="t" anchorCtr="0"/>
          <a:lstStyle>
            <a:lvl1pPr marL="0" indent="0" algn="ctr">
              <a:buNone/>
              <a:defRPr sz="40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Insert title</a:t>
            </a:r>
            <a:endParaRPr lang="en-I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4DD9236-912C-344B-9E5C-FA71BC0D7733}"/>
              </a:ext>
            </a:extLst>
          </p:cNvPr>
          <p:cNvCxnSpPr>
            <a:cxnSpLocks/>
          </p:cNvCxnSpPr>
          <p:nvPr userDrawn="1"/>
        </p:nvCxnSpPr>
        <p:spPr>
          <a:xfrm>
            <a:off x="3616325" y="179619"/>
            <a:ext cx="2479675" cy="2479675"/>
          </a:xfrm>
          <a:prstGeom prst="line">
            <a:avLst/>
          </a:prstGeom>
          <a:ln>
            <a:gradFill>
              <a:gsLst>
                <a:gs pos="0">
                  <a:srgbClr val="F6C370">
                    <a:alpha val="0"/>
                  </a:srgbClr>
                </a:gs>
                <a:gs pos="99000">
                  <a:srgbClr val="F6C370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EDE2553-0A96-BE4B-BB2B-76B1728C21C7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6000" y="2044995"/>
            <a:ext cx="614299" cy="614299"/>
          </a:xfrm>
          <a:prstGeom prst="line">
            <a:avLst/>
          </a:prstGeom>
          <a:ln>
            <a:gradFill>
              <a:gsLst>
                <a:gs pos="0">
                  <a:srgbClr val="F6C370">
                    <a:alpha val="0"/>
                  </a:srgbClr>
                </a:gs>
                <a:gs pos="100000">
                  <a:srgbClr val="F6C370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CE8CBB6-B3C4-D14C-8D91-B662FC73557E}"/>
              </a:ext>
            </a:extLst>
          </p:cNvPr>
          <p:cNvCxnSpPr>
            <a:cxnSpLocks/>
          </p:cNvCxnSpPr>
          <p:nvPr userDrawn="1"/>
        </p:nvCxnSpPr>
        <p:spPr>
          <a:xfrm>
            <a:off x="8572595" y="177511"/>
            <a:ext cx="1669323" cy="1669323"/>
          </a:xfrm>
          <a:prstGeom prst="line">
            <a:avLst/>
          </a:prstGeom>
          <a:ln>
            <a:gradFill>
              <a:gsLst>
                <a:gs pos="100000">
                  <a:srgbClr val="F6C370">
                    <a:alpha val="0"/>
                  </a:srgbClr>
                </a:gs>
                <a:gs pos="0">
                  <a:srgbClr val="F6C370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8D380F66-B4D5-184D-94DB-90D0CF1B87F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385078" y="694722"/>
            <a:ext cx="4462492" cy="4462492"/>
          </a:xfrm>
          <a:prstGeom prst="diamond">
            <a:avLst/>
          </a:prstGeom>
          <a:ln>
            <a:gradFill>
              <a:gsLst>
                <a:gs pos="1000">
                  <a:srgbClr val="F6C370"/>
                </a:gs>
                <a:gs pos="100000">
                  <a:srgbClr val="F6C370">
                    <a:alpha val="0"/>
                  </a:srgbClr>
                </a:gs>
              </a:gsLst>
              <a:lin ang="5400000" scaled="1"/>
            </a:gradFill>
          </a:ln>
          <a:effectLst>
            <a:outerShdw blurRad="152400" dist="101600" dir="5400000" algn="ctr" rotWithShape="0">
              <a:srgbClr val="000000">
                <a:alpha val="34687"/>
              </a:srgbClr>
            </a:outerShdw>
          </a:effectLst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S"/>
              <a:t>Insert picture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BD90AA33-3B20-3886-AA59-59B13EC8BB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813959" y="394661"/>
            <a:ext cx="2564084" cy="1055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036811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372638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BDEDCE82-AC3C-FC49-881A-4158E6CF1A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92000" y="94118"/>
            <a:ext cx="1008000" cy="372708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BD3D993-CAE7-0B4C-98BF-D23A1100AB04}"/>
              </a:ext>
            </a:extLst>
          </p:cNvPr>
          <p:cNvCxnSpPr/>
          <p:nvPr userDrawn="1"/>
        </p:nvCxnSpPr>
        <p:spPr>
          <a:xfrm flipH="1">
            <a:off x="340291" y="275659"/>
            <a:ext cx="5098093" cy="0"/>
          </a:xfrm>
          <a:prstGeom prst="line">
            <a:avLst/>
          </a:prstGeom>
          <a:ln>
            <a:solidFill>
              <a:srgbClr val="F6C3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5389307-8716-A348-921D-FCA8B2CBED8F}"/>
              </a:ext>
            </a:extLst>
          </p:cNvPr>
          <p:cNvCxnSpPr/>
          <p:nvPr userDrawn="1"/>
        </p:nvCxnSpPr>
        <p:spPr>
          <a:xfrm flipH="1">
            <a:off x="6753616" y="275659"/>
            <a:ext cx="5098093" cy="0"/>
          </a:xfrm>
          <a:prstGeom prst="line">
            <a:avLst/>
          </a:prstGeom>
          <a:ln>
            <a:solidFill>
              <a:srgbClr val="F6C3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819649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Chapter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B67A1442-0956-8C46-8669-1C486AAC27DD}"/>
              </a:ext>
            </a:extLst>
          </p:cNvPr>
          <p:cNvSpPr/>
          <p:nvPr userDrawn="1"/>
        </p:nvSpPr>
        <p:spPr>
          <a:xfrm rot="8100000">
            <a:off x="3886857" y="1399476"/>
            <a:ext cx="4418286" cy="4418286"/>
          </a:xfrm>
          <a:prstGeom prst="rect">
            <a:avLst/>
          </a:prstGeom>
          <a:gradFill>
            <a:gsLst>
              <a:gs pos="99000">
                <a:srgbClr val="361D5C">
                  <a:alpha val="0"/>
                </a:srgbClr>
              </a:gs>
              <a:gs pos="0">
                <a:srgbClr val="361D5C">
                  <a:alpha val="50000"/>
                </a:srgbClr>
              </a:gs>
              <a:gs pos="50000">
                <a:srgbClr val="361D5C">
                  <a:alpha val="50000"/>
                </a:srgbClr>
              </a:gs>
            </a:gsLst>
            <a:lin ang="81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32B65B3-96F2-F64C-91C0-8BEF156AFC47}"/>
              </a:ext>
            </a:extLst>
          </p:cNvPr>
          <p:cNvSpPr/>
          <p:nvPr userDrawn="1"/>
        </p:nvSpPr>
        <p:spPr>
          <a:xfrm rot="13500000">
            <a:off x="1410758" y="1094675"/>
            <a:ext cx="4418286" cy="4418286"/>
          </a:xfrm>
          <a:prstGeom prst="rect">
            <a:avLst/>
          </a:prstGeom>
          <a:gradFill>
            <a:gsLst>
              <a:gs pos="100000">
                <a:srgbClr val="361D5C">
                  <a:alpha val="0"/>
                </a:srgbClr>
              </a:gs>
              <a:gs pos="0">
                <a:srgbClr val="361D5C">
                  <a:alpha val="0"/>
                </a:srgbClr>
              </a:gs>
              <a:gs pos="50000">
                <a:srgbClr val="361D5C">
                  <a:alpha val="49879"/>
                </a:srgbClr>
              </a:gs>
            </a:gsLst>
            <a:lin ang="81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8CF6FC87-6D3A-16B0-0EC5-B3A8870707A1}"/>
              </a:ext>
            </a:extLst>
          </p:cNvPr>
          <p:cNvSpPr/>
          <p:nvPr userDrawn="1"/>
        </p:nvSpPr>
        <p:spPr>
          <a:xfrm rot="5400000">
            <a:off x="1930863" y="-412993"/>
            <a:ext cx="2981370" cy="3799797"/>
          </a:xfrm>
          <a:custGeom>
            <a:avLst/>
            <a:gdLst>
              <a:gd name="connsiteX0" fmla="*/ 0 w 2981370"/>
              <a:gd name="connsiteY0" fmla="*/ 3799797 h 3799797"/>
              <a:gd name="connsiteX1" fmla="*/ 0 w 2981370"/>
              <a:gd name="connsiteY1" fmla="*/ 2162942 h 3799797"/>
              <a:gd name="connsiteX2" fmla="*/ 2162942 w 2981370"/>
              <a:gd name="connsiteY2" fmla="*/ 0 h 3799797"/>
              <a:gd name="connsiteX3" fmla="*/ 2981370 w 2981370"/>
              <a:gd name="connsiteY3" fmla="*/ 818428 h 3799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81370" h="3799797">
                <a:moveTo>
                  <a:pt x="0" y="3799797"/>
                </a:moveTo>
                <a:lnTo>
                  <a:pt x="0" y="2162942"/>
                </a:lnTo>
                <a:lnTo>
                  <a:pt x="2162942" y="0"/>
                </a:lnTo>
                <a:lnTo>
                  <a:pt x="2981370" y="818428"/>
                </a:lnTo>
                <a:close/>
              </a:path>
            </a:pathLst>
          </a:custGeom>
          <a:solidFill>
            <a:srgbClr val="29B4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S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D09284C5-3949-7600-4D9E-3B5204E3BCC1}"/>
              </a:ext>
            </a:extLst>
          </p:cNvPr>
          <p:cNvSpPr/>
          <p:nvPr userDrawn="1"/>
        </p:nvSpPr>
        <p:spPr>
          <a:xfrm>
            <a:off x="6596190" y="3479262"/>
            <a:ext cx="5062805" cy="3378738"/>
          </a:xfrm>
          <a:custGeom>
            <a:avLst/>
            <a:gdLst>
              <a:gd name="connsiteX0" fmla="*/ 3378738 w 5062805"/>
              <a:gd name="connsiteY0" fmla="*/ 0 h 3378738"/>
              <a:gd name="connsiteX1" fmla="*/ 5062805 w 5062805"/>
              <a:gd name="connsiteY1" fmla="*/ 1684068 h 3378738"/>
              <a:gd name="connsiteX2" fmla="*/ 3368135 w 5062805"/>
              <a:gd name="connsiteY2" fmla="*/ 3378738 h 3378738"/>
              <a:gd name="connsiteX3" fmla="*/ 0 w 5062805"/>
              <a:gd name="connsiteY3" fmla="*/ 3378738 h 3378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62805" h="3378738">
                <a:moveTo>
                  <a:pt x="3378738" y="0"/>
                </a:moveTo>
                <a:lnTo>
                  <a:pt x="5062805" y="1684068"/>
                </a:lnTo>
                <a:lnTo>
                  <a:pt x="3368135" y="3378738"/>
                </a:lnTo>
                <a:lnTo>
                  <a:pt x="0" y="3378738"/>
                </a:lnTo>
                <a:close/>
              </a:path>
            </a:pathLst>
          </a:custGeom>
          <a:solidFill>
            <a:srgbClr val="9432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EF3E88F-190A-2B4A-9C4B-83B6B74851BB}"/>
              </a:ext>
            </a:extLst>
          </p:cNvPr>
          <p:cNvSpPr/>
          <p:nvPr userDrawn="1"/>
        </p:nvSpPr>
        <p:spPr>
          <a:xfrm rot="13500000">
            <a:off x="6362956" y="1094675"/>
            <a:ext cx="4418286" cy="4418286"/>
          </a:xfrm>
          <a:prstGeom prst="rect">
            <a:avLst/>
          </a:prstGeom>
          <a:gradFill>
            <a:gsLst>
              <a:gs pos="99000">
                <a:srgbClr val="361D5C">
                  <a:alpha val="0"/>
                </a:srgbClr>
              </a:gs>
              <a:gs pos="0">
                <a:srgbClr val="361D5C">
                  <a:alpha val="0"/>
                </a:srgbClr>
              </a:gs>
              <a:gs pos="49000">
                <a:srgbClr val="361D5C">
                  <a:alpha val="50000"/>
                </a:srgbClr>
              </a:gs>
            </a:gsLst>
            <a:lin ang="81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6AC0B01-776C-864C-ABD8-1970F34FFF1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620296" y="694722"/>
            <a:ext cx="5916694" cy="5916694"/>
          </a:xfrm>
          <a:prstGeom prst="diamond">
            <a:avLst/>
          </a:prstGeom>
          <a:ln>
            <a:gradFill>
              <a:gsLst>
                <a:gs pos="1000">
                  <a:srgbClr val="F6C370"/>
                </a:gs>
                <a:gs pos="100000">
                  <a:srgbClr val="F6C370">
                    <a:alpha val="0"/>
                  </a:srgbClr>
                </a:gs>
              </a:gsLst>
              <a:lin ang="5400000" scaled="1"/>
            </a:gradFill>
          </a:ln>
          <a:effectLst>
            <a:outerShdw blurRad="152400" dist="101600" dir="5400000" algn="ctr" rotWithShape="0">
              <a:srgbClr val="000000">
                <a:alpha val="34687"/>
              </a:srgbClr>
            </a:outerShdw>
          </a:effectLst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S"/>
              <a:t>Insert pictu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8F0458-666E-B242-AA9B-31C770B5EB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3715" y="5367517"/>
            <a:ext cx="5605219" cy="1185620"/>
          </a:xfrm>
          <a:prstGeom prst="rect">
            <a:avLst/>
          </a:prstGeom>
        </p:spPr>
        <p:txBody>
          <a:bodyPr anchor="t" anchorCtr="0"/>
          <a:lstStyle>
            <a:lvl1pPr marL="0" indent="0" algn="ctr">
              <a:buNone/>
              <a:defRPr sz="40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Insert title</a:t>
            </a:r>
            <a:endParaRPr lang="en-I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4DD9236-912C-344B-9E5C-FA71BC0D7733}"/>
              </a:ext>
            </a:extLst>
          </p:cNvPr>
          <p:cNvCxnSpPr>
            <a:cxnSpLocks/>
          </p:cNvCxnSpPr>
          <p:nvPr userDrawn="1"/>
        </p:nvCxnSpPr>
        <p:spPr>
          <a:xfrm>
            <a:off x="3616325" y="179619"/>
            <a:ext cx="2479675" cy="2479675"/>
          </a:xfrm>
          <a:prstGeom prst="line">
            <a:avLst/>
          </a:prstGeom>
          <a:ln>
            <a:gradFill>
              <a:gsLst>
                <a:gs pos="0">
                  <a:srgbClr val="F6C370">
                    <a:alpha val="0"/>
                  </a:srgbClr>
                </a:gs>
                <a:gs pos="99000">
                  <a:srgbClr val="F6C370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EDE2553-0A96-BE4B-BB2B-76B1728C21C7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6000" y="2044995"/>
            <a:ext cx="614299" cy="614299"/>
          </a:xfrm>
          <a:prstGeom prst="line">
            <a:avLst/>
          </a:prstGeom>
          <a:ln>
            <a:gradFill>
              <a:gsLst>
                <a:gs pos="0">
                  <a:srgbClr val="F6C370">
                    <a:alpha val="0"/>
                  </a:srgbClr>
                </a:gs>
                <a:gs pos="100000">
                  <a:srgbClr val="F6C370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CE8CBB6-B3C4-D14C-8D91-B662FC73557E}"/>
              </a:ext>
            </a:extLst>
          </p:cNvPr>
          <p:cNvCxnSpPr>
            <a:cxnSpLocks/>
          </p:cNvCxnSpPr>
          <p:nvPr userDrawn="1"/>
        </p:nvCxnSpPr>
        <p:spPr>
          <a:xfrm>
            <a:off x="8572595" y="177511"/>
            <a:ext cx="1669323" cy="1669323"/>
          </a:xfrm>
          <a:prstGeom prst="line">
            <a:avLst/>
          </a:prstGeom>
          <a:ln>
            <a:gradFill>
              <a:gsLst>
                <a:gs pos="100000">
                  <a:srgbClr val="F6C370">
                    <a:alpha val="0"/>
                  </a:srgbClr>
                </a:gs>
                <a:gs pos="0">
                  <a:srgbClr val="F6C370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8D380F66-B4D5-184D-94DB-90D0CF1B87F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385078" y="694722"/>
            <a:ext cx="4462492" cy="4462492"/>
          </a:xfrm>
          <a:prstGeom prst="diamond">
            <a:avLst/>
          </a:prstGeom>
          <a:ln>
            <a:gradFill>
              <a:gsLst>
                <a:gs pos="1000">
                  <a:srgbClr val="F6C370"/>
                </a:gs>
                <a:gs pos="100000">
                  <a:srgbClr val="F6C370">
                    <a:alpha val="0"/>
                  </a:srgbClr>
                </a:gs>
              </a:gsLst>
              <a:lin ang="5400000" scaled="1"/>
            </a:gradFill>
          </a:ln>
          <a:effectLst>
            <a:outerShdw blurRad="152400" dist="101600" dir="5400000" algn="ctr" rotWithShape="0">
              <a:srgbClr val="000000">
                <a:alpha val="34687"/>
              </a:srgbClr>
            </a:outerShdw>
          </a:effectLst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S"/>
              <a:t>Insert picture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BD90AA33-3B20-3886-AA59-59B13EC8BB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813959" y="394661"/>
            <a:ext cx="2564084" cy="1055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063016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2">
            <a:extLst>
              <a:ext uri="{FF2B5EF4-FFF2-40B4-BE49-F238E27FC236}">
                <a16:creationId xmlns:a16="http://schemas.microsoft.com/office/drawing/2014/main" id="{1DA0E6A1-66AF-A644-9030-3203CC8257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291" y="488601"/>
            <a:ext cx="11511418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>
                <a:solidFill>
                  <a:srgbClr val="F6C370"/>
                </a:solidFill>
              </a:defRPr>
            </a:lvl1pPr>
          </a:lstStyle>
          <a:p>
            <a:r>
              <a:rPr lang="en-GB"/>
              <a:t>Insert slide title</a:t>
            </a:r>
            <a:endParaRPr lang="en-I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653EB8C-1F16-6149-AC51-A2075374274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0291" y="1352550"/>
            <a:ext cx="11484279" cy="50736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BD3D993-CAE7-0B4C-98BF-D23A1100AB04}"/>
              </a:ext>
            </a:extLst>
          </p:cNvPr>
          <p:cNvCxnSpPr/>
          <p:nvPr userDrawn="1"/>
        </p:nvCxnSpPr>
        <p:spPr>
          <a:xfrm flipH="1">
            <a:off x="340291" y="275659"/>
            <a:ext cx="5098093" cy="0"/>
          </a:xfrm>
          <a:prstGeom prst="line">
            <a:avLst/>
          </a:prstGeom>
          <a:ln>
            <a:solidFill>
              <a:srgbClr val="F6C3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5389307-8716-A348-921D-FCA8B2CBED8F}"/>
              </a:ext>
            </a:extLst>
          </p:cNvPr>
          <p:cNvCxnSpPr/>
          <p:nvPr userDrawn="1"/>
        </p:nvCxnSpPr>
        <p:spPr>
          <a:xfrm flipH="1">
            <a:off x="6753616" y="275659"/>
            <a:ext cx="5098093" cy="0"/>
          </a:xfrm>
          <a:prstGeom prst="line">
            <a:avLst/>
          </a:prstGeom>
          <a:ln>
            <a:solidFill>
              <a:srgbClr val="F6C3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B39A094D-326D-C811-8216-2D5EA2BC44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92000" y="94118"/>
            <a:ext cx="1008000" cy="372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748881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21012F36-8998-C1AE-8F2F-279949AFFDBE}"/>
              </a:ext>
            </a:extLst>
          </p:cNvPr>
          <p:cNvSpPr/>
          <p:nvPr userDrawn="1"/>
        </p:nvSpPr>
        <p:spPr>
          <a:xfrm>
            <a:off x="10613876" y="5136020"/>
            <a:ext cx="1578123" cy="1721980"/>
          </a:xfrm>
          <a:prstGeom prst="rect">
            <a:avLst/>
          </a:prstGeom>
          <a:solidFill>
            <a:srgbClr val="29B4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sp>
        <p:nvSpPr>
          <p:cNvPr id="7" name="Title Placeholder 12">
            <a:extLst>
              <a:ext uri="{FF2B5EF4-FFF2-40B4-BE49-F238E27FC236}">
                <a16:creationId xmlns:a16="http://schemas.microsoft.com/office/drawing/2014/main" id="{1DA0E6A1-66AF-A644-9030-3203CC8257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290" y="488601"/>
            <a:ext cx="11511417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>
                <a:solidFill>
                  <a:srgbClr val="F6C370"/>
                </a:solidFill>
              </a:defRPr>
            </a:lvl1pPr>
          </a:lstStyle>
          <a:p>
            <a:r>
              <a:rPr lang="en-GB"/>
              <a:t>Insert slide title</a:t>
            </a:r>
            <a:endParaRPr lang="en-I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653EB8C-1F16-6149-AC51-A2075374274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0290" y="1352550"/>
            <a:ext cx="5584521" cy="50736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70168AD-C0C4-9641-8C02-1ACFE8EA8DF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67189" y="1352550"/>
            <a:ext cx="5584518" cy="50736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S"/>
              <a:t>Insert pictu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C5F1984-C73F-134F-9911-E66EE857E453}"/>
              </a:ext>
            </a:extLst>
          </p:cNvPr>
          <p:cNvCxnSpPr/>
          <p:nvPr userDrawn="1"/>
        </p:nvCxnSpPr>
        <p:spPr>
          <a:xfrm flipH="1">
            <a:off x="340291" y="275659"/>
            <a:ext cx="5098093" cy="0"/>
          </a:xfrm>
          <a:prstGeom prst="line">
            <a:avLst/>
          </a:prstGeom>
          <a:ln>
            <a:solidFill>
              <a:srgbClr val="F6C3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EB5A95B-1B14-7F43-8414-E39B53C56D5A}"/>
              </a:ext>
            </a:extLst>
          </p:cNvPr>
          <p:cNvCxnSpPr/>
          <p:nvPr userDrawn="1"/>
        </p:nvCxnSpPr>
        <p:spPr>
          <a:xfrm flipH="1">
            <a:off x="6753616" y="275659"/>
            <a:ext cx="5098093" cy="0"/>
          </a:xfrm>
          <a:prstGeom prst="line">
            <a:avLst/>
          </a:prstGeom>
          <a:ln>
            <a:solidFill>
              <a:srgbClr val="F6C3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2141B79D-5FCA-83B1-9283-020AE2F9F6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92000" y="94118"/>
            <a:ext cx="1008000" cy="372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525812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70168AD-C0C4-9641-8C02-1ACFE8EA8DF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4874400" cy="68580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S"/>
              <a:t>Insert picture</a:t>
            </a:r>
          </a:p>
        </p:txBody>
      </p:sp>
      <p:sp>
        <p:nvSpPr>
          <p:cNvPr id="7" name="Title Placeholder 12">
            <a:extLst>
              <a:ext uri="{FF2B5EF4-FFF2-40B4-BE49-F238E27FC236}">
                <a16:creationId xmlns:a16="http://schemas.microsoft.com/office/drawing/2014/main" id="{1DA0E6A1-66AF-A644-9030-3203CC8257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13445" y="488601"/>
            <a:ext cx="6638262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3600">
                <a:solidFill>
                  <a:srgbClr val="F6C370"/>
                </a:solidFill>
              </a:defRPr>
            </a:lvl1pPr>
          </a:lstStyle>
          <a:p>
            <a:r>
              <a:rPr lang="en-GB"/>
              <a:t>Insert slide title</a:t>
            </a:r>
            <a:endParaRPr lang="en-I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C5F1984-C73F-134F-9911-E66EE857E453}"/>
              </a:ext>
            </a:extLst>
          </p:cNvPr>
          <p:cNvCxnSpPr>
            <a:cxnSpLocks/>
          </p:cNvCxnSpPr>
          <p:nvPr userDrawn="1"/>
        </p:nvCxnSpPr>
        <p:spPr>
          <a:xfrm flipH="1">
            <a:off x="5213445" y="275659"/>
            <a:ext cx="2661514" cy="0"/>
          </a:xfrm>
          <a:prstGeom prst="line">
            <a:avLst/>
          </a:prstGeom>
          <a:ln>
            <a:solidFill>
              <a:srgbClr val="F6C3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EB5A95B-1B14-7F43-8414-E39B53C56D5A}"/>
              </a:ext>
            </a:extLst>
          </p:cNvPr>
          <p:cNvCxnSpPr>
            <a:cxnSpLocks/>
          </p:cNvCxnSpPr>
          <p:nvPr userDrawn="1"/>
        </p:nvCxnSpPr>
        <p:spPr>
          <a:xfrm flipH="1">
            <a:off x="9190191" y="275659"/>
            <a:ext cx="2661516" cy="0"/>
          </a:xfrm>
          <a:prstGeom prst="line">
            <a:avLst/>
          </a:prstGeom>
          <a:ln>
            <a:solidFill>
              <a:srgbClr val="F6C3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3172F69-851E-354C-9F9C-79583502B72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13445" y="1352550"/>
            <a:ext cx="6638262" cy="50736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S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2ED9295-5878-6ABD-0EEE-2B92532E4E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028574" y="94118"/>
            <a:ext cx="1008000" cy="372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168353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70168AD-C0C4-9641-8C02-1ACFE8EA8DF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609114" y="555177"/>
            <a:ext cx="4582886" cy="630281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S"/>
              <a:t>Insert pictu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C5F1984-C73F-134F-9911-E66EE857E453}"/>
              </a:ext>
            </a:extLst>
          </p:cNvPr>
          <p:cNvCxnSpPr>
            <a:cxnSpLocks/>
          </p:cNvCxnSpPr>
          <p:nvPr userDrawn="1"/>
        </p:nvCxnSpPr>
        <p:spPr>
          <a:xfrm flipH="1">
            <a:off x="340290" y="275659"/>
            <a:ext cx="8894170" cy="0"/>
          </a:xfrm>
          <a:prstGeom prst="line">
            <a:avLst/>
          </a:prstGeom>
          <a:ln>
            <a:solidFill>
              <a:srgbClr val="F6C3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EB5A95B-1B14-7F43-8414-E39B53C56D5A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49692" y="275659"/>
            <a:ext cx="1642308" cy="0"/>
          </a:xfrm>
          <a:prstGeom prst="line">
            <a:avLst/>
          </a:prstGeom>
          <a:ln>
            <a:solidFill>
              <a:srgbClr val="F6C3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3172F69-851E-354C-9F9C-79583502B72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0290" y="1352550"/>
            <a:ext cx="6816054" cy="50736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S"/>
          </a:p>
        </p:txBody>
      </p:sp>
      <p:sp>
        <p:nvSpPr>
          <p:cNvPr id="12" name="Title Placeholder 12">
            <a:extLst>
              <a:ext uri="{FF2B5EF4-FFF2-40B4-BE49-F238E27FC236}">
                <a16:creationId xmlns:a16="http://schemas.microsoft.com/office/drawing/2014/main" id="{B481A195-D889-E642-93F2-1B3B1F9DA0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290" y="488601"/>
            <a:ext cx="6816055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3600">
                <a:solidFill>
                  <a:srgbClr val="F6C370"/>
                </a:solidFill>
              </a:defRPr>
            </a:lvl1pPr>
          </a:lstStyle>
          <a:p>
            <a:r>
              <a:rPr lang="en-GB"/>
              <a:t>Insert slide title</a:t>
            </a:r>
            <a:endParaRPr lang="en-IS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D24DECEA-C020-205E-B14B-1A6A0C7E64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388075" y="94118"/>
            <a:ext cx="1008000" cy="372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368872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ty gradient slide with logo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F858DD0E-1B1B-5444-BEB3-4B2983BD26E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13358" y="361950"/>
            <a:ext cx="1106686" cy="339725"/>
          </a:xfrm>
          <a:prstGeom prst="rect">
            <a:avLst/>
          </a:prstGeom>
        </p:spPr>
      </p:pic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31A225BF-68C5-E345-B7A0-1833B54CA4B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8340" y="266458"/>
            <a:ext cx="10060027" cy="569997"/>
          </a:xfrm>
          <a:prstGeom prst="rect">
            <a:avLst/>
          </a:prstGeom>
        </p:spPr>
        <p:txBody>
          <a:bodyPr/>
          <a:lstStyle>
            <a:lvl1pPr>
              <a:buNone/>
              <a:defRPr sz="4000" b="1" i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IS"/>
              <a:t>Insert title</a:t>
            </a:r>
          </a:p>
        </p:txBody>
      </p:sp>
    </p:spTree>
    <p:extLst>
      <p:ext uri="{BB962C8B-B14F-4D97-AF65-F5344CB8AC3E}">
        <p14:creationId xmlns:p14="http://schemas.microsoft.com/office/powerpoint/2010/main" val="166241687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 LS One 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2">
            <a:extLst>
              <a:ext uri="{FF2B5EF4-FFF2-40B4-BE49-F238E27FC236}">
                <a16:creationId xmlns:a16="http://schemas.microsoft.com/office/drawing/2014/main" id="{5C7AE35E-21A1-4042-AE3B-F1B0B95248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799991">
            <a:off x="5919212" y="6447278"/>
            <a:ext cx="6272783" cy="410684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3" name="Picture 13">
            <a:extLst>
              <a:ext uri="{FF2B5EF4-FFF2-40B4-BE49-F238E27FC236}">
                <a16:creationId xmlns:a16="http://schemas.microsoft.com/office/drawing/2014/main" id="{7EDB9F6D-855A-4E79-B6DD-9B74B5E0E7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6556"/>
            <a:ext cx="6272783" cy="410684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4" name="Picture 15">
            <a:extLst>
              <a:ext uri="{FF2B5EF4-FFF2-40B4-BE49-F238E27FC236}">
                <a16:creationId xmlns:a16="http://schemas.microsoft.com/office/drawing/2014/main" id="{FB8DE02D-51E6-49E7-A1AC-88F1AA11916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rot="10799991">
            <a:off x="11781275" y="1595947"/>
            <a:ext cx="410684" cy="2973418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5" name="Picture 16" descr="Shape, circle&#10;&#10;Description automatically generated">
            <a:extLst>
              <a:ext uri="{FF2B5EF4-FFF2-40B4-BE49-F238E27FC236}">
                <a16:creationId xmlns:a16="http://schemas.microsoft.com/office/drawing/2014/main" id="{78495EA4-3038-4A6A-8735-EA65CBE0877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13">
            <a:off x="216498" y="3645507"/>
            <a:ext cx="2996004" cy="342900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6" name="Picture 17">
            <a:extLst>
              <a:ext uri="{FF2B5EF4-FFF2-40B4-BE49-F238E27FC236}">
                <a16:creationId xmlns:a16="http://schemas.microsoft.com/office/drawing/2014/main" id="{4B735BF6-E647-4276-9DAF-A40F100F75B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1595993"/>
            <a:ext cx="410684" cy="2973418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7" name="Picture 20">
            <a:extLst>
              <a:ext uri="{FF2B5EF4-FFF2-40B4-BE49-F238E27FC236}">
                <a16:creationId xmlns:a16="http://schemas.microsoft.com/office/drawing/2014/main" id="{0446E820-DCC3-41D3-B582-42DC1412F7F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34077" y="226158"/>
            <a:ext cx="1457919" cy="612840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C76596B3-EFD0-42CB-85A7-CC409DCD5D8B}"/>
              </a:ext>
            </a:extLst>
          </p:cNvPr>
          <p:cNvSpPr txBox="1">
            <a:spLocks noGrp="1"/>
          </p:cNvSpPr>
          <p:nvPr>
            <p:ph type="body" sz="quarter" idx="4294967295"/>
          </p:nvPr>
        </p:nvSpPr>
        <p:spPr>
          <a:xfrm>
            <a:off x="410684" y="634968"/>
            <a:ext cx="9886255" cy="487942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ctr" anchorCtr="0" compatLnSpc="1">
            <a:noAutofit/>
          </a:bodyPr>
          <a:lstStyle>
            <a:lvl1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IS" sz="3600" b="1" i="0" u="none" strike="noStrike" cap="none" spc="0" baseline="0">
                <a:solidFill>
                  <a:srgbClr val="004A87"/>
                </a:solidFill>
                <a:uFillTx/>
                <a:latin typeface="Segoe UI" pitchFamily="34"/>
                <a:cs typeface="Segoe UI" pitchFamily="34"/>
              </a:defRPr>
            </a:lvl1pPr>
          </a:lstStyle>
          <a:p>
            <a:pPr lvl="0"/>
            <a:r>
              <a:rPr lang="en-IS"/>
              <a:t>Insert your title or leave empty</a:t>
            </a:r>
          </a:p>
        </p:txBody>
      </p:sp>
    </p:spTree>
    <p:extLst>
      <p:ext uri="{BB962C8B-B14F-4D97-AF65-F5344CB8AC3E}">
        <p14:creationId xmlns:p14="http://schemas.microsoft.com/office/powerpoint/2010/main" val="3885800174"/>
      </p:ext>
    </p:extLst>
  </p:cSld>
  <p:clrMapOvr>
    <a:masterClrMapping/>
  </p:clrMapOvr>
  <p:hf sldNum="0" hdr="0" ftr="0" dt="0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Graphical user interface&#10;&#10;Description automatically generated">
            <a:extLst>
              <a:ext uri="{FF2B5EF4-FFF2-40B4-BE49-F238E27FC236}">
                <a16:creationId xmlns:a16="http://schemas.microsoft.com/office/drawing/2014/main" id="{A766107F-9B7D-5549-BFE5-2215D8B1F7D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88354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E7C161A-31CC-4FE4-91C1-F1BBE09081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9268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E7C161A-31CC-4FE4-91C1-F1BBE09081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D18ACAB-EDB1-453F-AFFF-C47B506D0F4F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106000"/>
              </a:lnSpc>
              <a:buFont typeface="Wingdings 2" pitchFamily="18" charset="2"/>
              <a:buNone/>
            </a:pPr>
            <a:endParaRPr lang="en-GB" sz="1400" b="0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553548-E404-432D-B293-A91951A74B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86318087-4A0C-42F0-84E9-C343AD95D9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4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0816935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162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ty gradient slide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F858DD0E-1B1B-5444-BEB3-4B2983BD26E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13358" y="361950"/>
            <a:ext cx="1106686" cy="339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162317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dient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404161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510553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mpty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BDEDCE82-AC3C-FC49-881A-4158E6CF1A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92000" y="94118"/>
            <a:ext cx="1008000" cy="372708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BD3D993-CAE7-0B4C-98BF-D23A1100AB04}"/>
              </a:ext>
            </a:extLst>
          </p:cNvPr>
          <p:cNvCxnSpPr/>
          <p:nvPr userDrawn="1"/>
        </p:nvCxnSpPr>
        <p:spPr>
          <a:xfrm flipH="1">
            <a:off x="340291" y="275659"/>
            <a:ext cx="5098093" cy="0"/>
          </a:xfrm>
          <a:prstGeom prst="line">
            <a:avLst/>
          </a:prstGeom>
          <a:ln>
            <a:solidFill>
              <a:srgbClr val="F6C3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5389307-8716-A348-921D-FCA8B2CBED8F}"/>
              </a:ext>
            </a:extLst>
          </p:cNvPr>
          <p:cNvCxnSpPr/>
          <p:nvPr userDrawn="1"/>
        </p:nvCxnSpPr>
        <p:spPr>
          <a:xfrm flipH="1">
            <a:off x="6753616" y="275659"/>
            <a:ext cx="5098093" cy="0"/>
          </a:xfrm>
          <a:prstGeom prst="line">
            <a:avLst/>
          </a:prstGeom>
          <a:ln>
            <a:solidFill>
              <a:srgbClr val="F6C3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Picture Placeholder 4">
            <a:extLst>
              <a:ext uri="{FF2B5EF4-FFF2-40B4-BE49-F238E27FC236}">
                <a16:creationId xmlns:a16="http://schemas.microsoft.com/office/drawing/2014/main" id="{9384D0E1-D483-E122-725F-280D01B662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5654" y="1613136"/>
            <a:ext cx="1577612" cy="1591138"/>
          </a:xfrm>
          <a:prstGeom prst="rect">
            <a:avLst/>
          </a:prstGeom>
          <a:ln>
            <a:gradFill>
              <a:gsLst>
                <a:gs pos="100000">
                  <a:srgbClr val="F6C370">
                    <a:alpha val="0"/>
                  </a:srgbClr>
                </a:gs>
                <a:gs pos="0">
                  <a:srgbClr val="F6C370"/>
                </a:gs>
              </a:gsLst>
              <a:lin ang="5400000" scaled="0"/>
            </a:gradFill>
          </a:ln>
          <a:effectLst>
            <a:outerShdw blurRad="127000" dist="76200" dir="5400000" algn="ctr" rotWithShape="0">
              <a:srgbClr val="000000">
                <a:alpha val="30000"/>
              </a:srgbClr>
            </a:outerShdw>
          </a:effectLst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IS"/>
          </a:p>
        </p:txBody>
      </p:sp>
      <p:sp>
        <p:nvSpPr>
          <p:cNvPr id="3" name="Text Placeholder 14">
            <a:extLst>
              <a:ext uri="{FF2B5EF4-FFF2-40B4-BE49-F238E27FC236}">
                <a16:creationId xmlns:a16="http://schemas.microsoft.com/office/drawing/2014/main" id="{E4BB647A-72B3-6541-8648-2601CC39B9F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88228" y="3312294"/>
            <a:ext cx="2832464" cy="40712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1">
                <a:solidFill>
                  <a:srgbClr val="F6C37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Insert speaker name</a:t>
            </a:r>
            <a:endParaRPr lang="en-IS"/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D0C50BD-9426-1795-0B51-21302D21483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88228" y="3719422"/>
            <a:ext cx="2832464" cy="3161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Job title</a:t>
            </a:r>
            <a:endParaRPr lang="en-I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70DC27DA-30C6-9356-94E6-00A439C4237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88464" y="700308"/>
            <a:ext cx="10215072" cy="624611"/>
          </a:xfrm>
          <a:prstGeom prst="rect">
            <a:avLst/>
          </a:prstGeom>
        </p:spPr>
        <p:txBody>
          <a:bodyPr anchor="t" anchorCtr="0"/>
          <a:lstStyle>
            <a:lvl1pPr marL="0" indent="0" algn="ctr">
              <a:buNone/>
              <a:defRPr sz="40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Presentation title</a:t>
            </a:r>
            <a:endParaRPr lang="en-IS"/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BCE3B3C4-2BDE-3326-3262-29F4E6C54956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773646" y="1613136"/>
            <a:ext cx="1577612" cy="1591138"/>
          </a:xfrm>
          <a:prstGeom prst="rect">
            <a:avLst/>
          </a:prstGeom>
          <a:ln>
            <a:gradFill>
              <a:gsLst>
                <a:gs pos="100000">
                  <a:srgbClr val="F6C370">
                    <a:alpha val="0"/>
                  </a:srgbClr>
                </a:gs>
                <a:gs pos="0">
                  <a:srgbClr val="F6C370"/>
                </a:gs>
              </a:gsLst>
              <a:lin ang="5400000" scaled="0"/>
            </a:gradFill>
          </a:ln>
          <a:effectLst>
            <a:outerShdw blurRad="127000" dist="76200" dir="5400000" algn="ctr" rotWithShape="0">
              <a:srgbClr val="000000">
                <a:alpha val="30000"/>
              </a:srgbClr>
            </a:outerShdw>
          </a:effectLst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IS"/>
          </a:p>
        </p:txBody>
      </p:sp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8D1BCD55-7301-EEEF-B113-9FB2021E9B9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146220" y="3312294"/>
            <a:ext cx="2832464" cy="40712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1">
                <a:solidFill>
                  <a:srgbClr val="F6C37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Insert speaker name</a:t>
            </a:r>
            <a:endParaRPr lang="en-IS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70D71FD6-DE28-5F0C-149B-22659A9F0DB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146220" y="3719422"/>
            <a:ext cx="2832464" cy="3161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Job title</a:t>
            </a:r>
            <a:endParaRPr lang="en-IS"/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11BFB1FB-4521-65C9-93E6-0657B9AE9D75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713227" y="1613136"/>
            <a:ext cx="1577612" cy="1591138"/>
          </a:xfrm>
          <a:prstGeom prst="rect">
            <a:avLst/>
          </a:prstGeom>
          <a:ln>
            <a:gradFill>
              <a:gsLst>
                <a:gs pos="100000">
                  <a:srgbClr val="F6C370">
                    <a:alpha val="0"/>
                  </a:srgbClr>
                </a:gs>
                <a:gs pos="0">
                  <a:srgbClr val="F6C370"/>
                </a:gs>
              </a:gsLst>
              <a:lin ang="5400000" scaled="0"/>
            </a:gradFill>
          </a:ln>
          <a:effectLst>
            <a:outerShdw blurRad="127000" dist="76200" dir="5400000" algn="ctr" rotWithShape="0">
              <a:srgbClr val="000000">
                <a:alpha val="30000"/>
              </a:srgbClr>
            </a:outerShdw>
          </a:effectLst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IS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E39C200E-ED9F-BE8A-9662-E5E731127E3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085801" y="3312294"/>
            <a:ext cx="2832464" cy="40712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1">
                <a:solidFill>
                  <a:srgbClr val="F6C37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Insert speaker name</a:t>
            </a:r>
            <a:endParaRPr lang="en-IS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1DEACE40-D174-2384-E400-A4ED83310A7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085801" y="3719422"/>
            <a:ext cx="2832464" cy="3161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Job title</a:t>
            </a:r>
            <a:endParaRPr lang="en-IS"/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05A0F998-C6A3-6A6A-9320-6349A94CC61F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9646671" y="1613136"/>
            <a:ext cx="1577612" cy="1591138"/>
          </a:xfrm>
          <a:prstGeom prst="rect">
            <a:avLst/>
          </a:prstGeom>
          <a:ln>
            <a:gradFill>
              <a:gsLst>
                <a:gs pos="100000">
                  <a:srgbClr val="F6C370">
                    <a:alpha val="0"/>
                  </a:srgbClr>
                </a:gs>
                <a:gs pos="0">
                  <a:srgbClr val="F6C370"/>
                </a:gs>
              </a:gsLst>
              <a:lin ang="5400000" scaled="0"/>
            </a:gradFill>
          </a:ln>
          <a:effectLst>
            <a:outerShdw blurRad="127000" dist="76200" dir="5400000" algn="ctr" rotWithShape="0">
              <a:srgbClr val="000000">
                <a:alpha val="30000"/>
              </a:srgbClr>
            </a:outerShdw>
          </a:effectLst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IS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9B644452-CAA1-CECF-107B-C9C2C348C30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019245" y="3312294"/>
            <a:ext cx="2832464" cy="40712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1">
                <a:solidFill>
                  <a:srgbClr val="F6C37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Insert speaker name</a:t>
            </a:r>
            <a:endParaRPr lang="en-IS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65F8343-7C9A-9021-528B-152DEE7080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019245" y="3719422"/>
            <a:ext cx="2832464" cy="3161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Job title</a:t>
            </a:r>
            <a:endParaRPr lang="en-IS"/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DBAED47E-2278-B5EF-6AC4-DB1F6804EA3E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815654" y="4159955"/>
            <a:ext cx="1577612" cy="1591138"/>
          </a:xfrm>
          <a:prstGeom prst="rect">
            <a:avLst/>
          </a:prstGeom>
          <a:ln>
            <a:gradFill>
              <a:gsLst>
                <a:gs pos="100000">
                  <a:srgbClr val="F6C370">
                    <a:alpha val="0"/>
                  </a:srgbClr>
                </a:gs>
                <a:gs pos="0">
                  <a:srgbClr val="F6C370"/>
                </a:gs>
              </a:gsLst>
              <a:lin ang="5400000" scaled="0"/>
            </a:gradFill>
          </a:ln>
          <a:effectLst>
            <a:outerShdw blurRad="127000" dist="76200" dir="5400000" algn="ctr" rotWithShape="0">
              <a:srgbClr val="000000">
                <a:alpha val="30000"/>
              </a:srgbClr>
            </a:outerShdw>
          </a:effectLst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IS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C311E11-69CE-F861-B507-1DD2B06907B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88228" y="5859113"/>
            <a:ext cx="2832464" cy="40712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1">
                <a:solidFill>
                  <a:srgbClr val="F6C37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Insert speaker name</a:t>
            </a:r>
            <a:endParaRPr lang="en-IS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F389178E-79A4-E42A-7E82-FF8682ABC88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88228" y="6266241"/>
            <a:ext cx="2832464" cy="3161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Job title</a:t>
            </a:r>
            <a:endParaRPr lang="en-IS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0AF05F0A-0496-3862-F8BB-C0F2E335294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3773646" y="4159955"/>
            <a:ext cx="1577612" cy="1591138"/>
          </a:xfrm>
          <a:prstGeom prst="rect">
            <a:avLst/>
          </a:prstGeom>
          <a:ln>
            <a:gradFill>
              <a:gsLst>
                <a:gs pos="100000">
                  <a:srgbClr val="F6C370">
                    <a:alpha val="0"/>
                  </a:srgbClr>
                </a:gs>
                <a:gs pos="0">
                  <a:srgbClr val="F6C370"/>
                </a:gs>
              </a:gsLst>
              <a:lin ang="5400000" scaled="0"/>
            </a:gradFill>
          </a:ln>
          <a:effectLst>
            <a:outerShdw blurRad="127000" dist="76200" dir="5400000" algn="ctr" rotWithShape="0">
              <a:srgbClr val="000000">
                <a:alpha val="30000"/>
              </a:srgbClr>
            </a:outerShdw>
          </a:effectLst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IS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5E864549-5E42-72BE-CF7D-0E30744D20A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146220" y="5859113"/>
            <a:ext cx="2832464" cy="40712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1">
                <a:solidFill>
                  <a:srgbClr val="F6C37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Insert speaker name</a:t>
            </a:r>
            <a:endParaRPr lang="en-IS"/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86651DFA-A2A5-0595-1415-25877D8D7DC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146220" y="6266241"/>
            <a:ext cx="2832464" cy="3161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Job title</a:t>
            </a:r>
            <a:endParaRPr lang="en-IS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C8125E2F-24F3-6F9B-F013-9747AD1E6D24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6713227" y="4159955"/>
            <a:ext cx="1577612" cy="1591138"/>
          </a:xfrm>
          <a:prstGeom prst="rect">
            <a:avLst/>
          </a:prstGeom>
          <a:ln>
            <a:gradFill>
              <a:gsLst>
                <a:gs pos="100000">
                  <a:srgbClr val="F6C370">
                    <a:alpha val="0"/>
                  </a:srgbClr>
                </a:gs>
                <a:gs pos="0">
                  <a:srgbClr val="F6C370"/>
                </a:gs>
              </a:gsLst>
              <a:lin ang="5400000" scaled="0"/>
            </a:gradFill>
          </a:ln>
          <a:effectLst>
            <a:outerShdw blurRad="127000" dist="76200" dir="5400000" algn="ctr" rotWithShape="0">
              <a:srgbClr val="000000">
                <a:alpha val="30000"/>
              </a:srgbClr>
            </a:outerShdw>
          </a:effectLst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IS"/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F8BA6646-AAB0-3650-3120-11E1D691610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085801" y="5859113"/>
            <a:ext cx="2832464" cy="40712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1">
                <a:solidFill>
                  <a:srgbClr val="F6C37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Insert speaker name</a:t>
            </a:r>
            <a:endParaRPr lang="en-IS"/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91628400-BDCC-20FD-F5FC-4E90408131A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085801" y="6266241"/>
            <a:ext cx="2832464" cy="3161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Job title</a:t>
            </a:r>
            <a:endParaRPr lang="en-IS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CC0D06A8-39F2-3402-99D3-55EE3DE78D8B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646671" y="4159955"/>
            <a:ext cx="1577612" cy="1591138"/>
          </a:xfrm>
          <a:prstGeom prst="rect">
            <a:avLst/>
          </a:prstGeom>
          <a:ln>
            <a:gradFill>
              <a:gsLst>
                <a:gs pos="100000">
                  <a:srgbClr val="F6C370">
                    <a:alpha val="0"/>
                  </a:srgbClr>
                </a:gs>
                <a:gs pos="0">
                  <a:srgbClr val="F6C370"/>
                </a:gs>
              </a:gsLst>
              <a:lin ang="5400000" scaled="0"/>
            </a:gradFill>
          </a:ln>
          <a:effectLst>
            <a:outerShdw blurRad="127000" dist="76200" dir="5400000" algn="ctr" rotWithShape="0">
              <a:srgbClr val="000000">
                <a:alpha val="30000"/>
              </a:srgbClr>
            </a:outerShdw>
          </a:effectLst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IS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1F7B10CA-0B68-6626-DDB0-5F7D8296179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019245" y="5859113"/>
            <a:ext cx="2832464" cy="40712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1">
                <a:solidFill>
                  <a:srgbClr val="F6C37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Insert speaker name</a:t>
            </a:r>
            <a:endParaRPr lang="en-IS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730DDE8E-9330-CBA6-CE06-82AE7673E9AA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019245" y="6266241"/>
            <a:ext cx="2832464" cy="3161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Job title</a:t>
            </a:r>
            <a:endParaRPr lang="en-IS"/>
          </a:p>
        </p:txBody>
      </p:sp>
    </p:spTree>
    <p:extLst>
      <p:ext uri="{BB962C8B-B14F-4D97-AF65-F5344CB8AC3E}">
        <p14:creationId xmlns:p14="http://schemas.microsoft.com/office/powerpoint/2010/main" val="322502846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A 1 sp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46EEB91-1FBF-2574-9E30-EFC890BC20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35826" y="3644348"/>
            <a:ext cx="6679097" cy="70236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8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Presentation title</a:t>
            </a:r>
            <a:endParaRPr lang="en-I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A55149DA-038D-9B46-A4D5-538FB88AD5A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35826" y="4545495"/>
            <a:ext cx="6679097" cy="70236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rgbClr val="928BE8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Speaker name</a:t>
            </a:r>
            <a:endParaRPr lang="en-I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73CE865-93EA-B7C5-0EF0-E3C2D98B66F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63974" y="-385969"/>
            <a:ext cx="4622800" cy="3924300"/>
          </a:xfrm>
          <a:prstGeom prst="rect">
            <a:avLst/>
          </a:prstGeom>
        </p:spPr>
      </p:pic>
      <p:pic>
        <p:nvPicPr>
          <p:cNvPr id="11" name="Picture 10" descr="A picture containing text&#10;&#10;Description automatically generated">
            <a:extLst>
              <a:ext uri="{FF2B5EF4-FFF2-40B4-BE49-F238E27FC236}">
                <a16:creationId xmlns:a16="http://schemas.microsoft.com/office/drawing/2014/main" id="{5B38C93F-EBBE-3B09-18CB-1DE0B32680C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63641" y="384659"/>
            <a:ext cx="4791723" cy="6088682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AEE98775-C911-E014-274A-92A3E86E1E2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373758" y="198600"/>
            <a:ext cx="1616767" cy="665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292680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A 2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38D24EBB-B0EE-5B5B-C9A4-62843A93E38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3641" y="384659"/>
            <a:ext cx="4791723" cy="6088682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46EEB91-1FBF-2574-9E30-EFC890BC20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35826" y="3644348"/>
            <a:ext cx="6679097" cy="70236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8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Presentation title</a:t>
            </a:r>
            <a:endParaRPr lang="en-I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A55149DA-038D-9B46-A4D5-538FB88AD5A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35826" y="4545495"/>
            <a:ext cx="3054376" cy="70236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800" b="1">
                <a:solidFill>
                  <a:srgbClr val="928BE8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Speaker name</a:t>
            </a:r>
            <a:endParaRPr lang="en-I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73CE865-93EA-B7C5-0EF0-E3C2D98B66F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063974" y="-385969"/>
            <a:ext cx="4622800" cy="3924300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FBF24EFF-AA3F-587C-A151-49C6814E9AD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60547" y="4545495"/>
            <a:ext cx="3054376" cy="70236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800" b="1">
                <a:solidFill>
                  <a:srgbClr val="928BE8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Speaker name</a:t>
            </a:r>
            <a:endParaRPr lang="en-I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E1A88365-4C78-C88E-1081-C615126AD59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373758" y="198600"/>
            <a:ext cx="1616767" cy="665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398370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 1 sp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73A9C32-B246-2A33-D36E-DB3E9D295F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4653" r="4209" b="9623"/>
          <a:stretch/>
        </p:blipFill>
        <p:spPr>
          <a:xfrm>
            <a:off x="5888740" y="0"/>
            <a:ext cx="6303260" cy="685800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55CC390D-A1FF-A90D-15BD-CE69E083366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51139" y="-233202"/>
            <a:ext cx="3373922" cy="2864126"/>
          </a:xfrm>
          <a:prstGeom prst="rect">
            <a:avLst/>
          </a:prstGeom>
        </p:spPr>
      </p:pic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482A353F-912E-AF04-08A7-165E5E20FD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5953" y="2726635"/>
            <a:ext cx="6064295" cy="70236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8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Presentation title</a:t>
            </a:r>
            <a:endParaRPr lang="en-I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36EC193-CF2B-0EA3-FA38-15862A3C3F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5953" y="3627782"/>
            <a:ext cx="6064295" cy="70236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rgbClr val="928BE8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Speaker name</a:t>
            </a:r>
            <a:endParaRPr lang="en-I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9EADCDA5-22DB-19AF-ACD5-BA95557B100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9562513" y="311344"/>
            <a:ext cx="2223534" cy="915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42277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 2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73A9C32-B246-2A33-D36E-DB3E9D295F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4653" r="4209" b="9623"/>
          <a:stretch/>
        </p:blipFill>
        <p:spPr>
          <a:xfrm>
            <a:off x="5888740" y="0"/>
            <a:ext cx="6303260" cy="685800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55CC390D-A1FF-A90D-15BD-CE69E083366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51139" y="-233202"/>
            <a:ext cx="3373922" cy="2864126"/>
          </a:xfrm>
          <a:prstGeom prst="rect">
            <a:avLst/>
          </a:prstGeom>
        </p:spPr>
      </p:pic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482A353F-912E-AF04-08A7-165E5E20FD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5953" y="2726635"/>
            <a:ext cx="6064295" cy="70236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8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Presentation title</a:t>
            </a:r>
            <a:endParaRPr lang="en-I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9EADCDA5-22DB-19AF-ACD5-BA95557B100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9562513" y="311344"/>
            <a:ext cx="2223534" cy="915572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648316FD-163D-8298-013A-30B2CE1A5DC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5953" y="3627782"/>
            <a:ext cx="2731408" cy="70236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800" b="1">
                <a:solidFill>
                  <a:srgbClr val="928BE8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Speaker name</a:t>
            </a:r>
            <a:endParaRPr lang="en-IS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6575C74F-D538-2609-F65D-8E623CB2B8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38840" y="3627781"/>
            <a:ext cx="2731408" cy="70236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800" b="1">
                <a:solidFill>
                  <a:srgbClr val="928BE8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Speaker name</a:t>
            </a:r>
            <a:endParaRPr lang="en-IS"/>
          </a:p>
        </p:txBody>
      </p:sp>
    </p:spTree>
    <p:extLst>
      <p:ext uri="{BB962C8B-B14F-4D97-AF65-F5344CB8AC3E}">
        <p14:creationId xmlns:p14="http://schemas.microsoft.com/office/powerpoint/2010/main" val="315914125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 1 speaker">
    <p:bg>
      <p:bgPr>
        <a:gradFill>
          <a:gsLst>
            <a:gs pos="0">
              <a:srgbClr val="943267"/>
            </a:gs>
            <a:gs pos="98000">
              <a:srgbClr val="200C3B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73A9C32-B246-2A33-D36E-DB3E9D295F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-782" r="-1866" b="1659"/>
          <a:stretch/>
        </p:blipFill>
        <p:spPr>
          <a:xfrm>
            <a:off x="-475554" y="116173"/>
            <a:ext cx="5600615" cy="6625653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55CC390D-A1FF-A90D-15BD-CE69E083366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868455" y="-233202"/>
            <a:ext cx="3373922" cy="2864126"/>
          </a:xfrm>
          <a:prstGeom prst="rect">
            <a:avLst/>
          </a:prstGeom>
        </p:spPr>
      </p:pic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482A353F-912E-AF04-08A7-165E5E20FD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23269" y="2726635"/>
            <a:ext cx="6064295" cy="70236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8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Presentation title</a:t>
            </a:r>
            <a:endParaRPr lang="en-I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36EC193-CF2B-0EA3-FA38-15862A3C3F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23269" y="3627782"/>
            <a:ext cx="6064295" cy="70236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rgbClr val="928BE8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Speaker name</a:t>
            </a:r>
            <a:endParaRPr lang="en-I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C903B724-D16A-B158-6D45-F004543972C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373758" y="198600"/>
            <a:ext cx="1616767" cy="665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9228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 2 speakers">
    <p:bg>
      <p:bgPr>
        <a:gradFill>
          <a:gsLst>
            <a:gs pos="0">
              <a:srgbClr val="943267"/>
            </a:gs>
            <a:gs pos="98000">
              <a:srgbClr val="200C3B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73A9C32-B246-2A33-D36E-DB3E9D295F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-782" r="-1866" b="1659"/>
          <a:stretch/>
        </p:blipFill>
        <p:spPr>
          <a:xfrm>
            <a:off x="-475554" y="116173"/>
            <a:ext cx="5600615" cy="6625653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55CC390D-A1FF-A90D-15BD-CE69E083366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868455" y="-233202"/>
            <a:ext cx="3373922" cy="2864126"/>
          </a:xfrm>
          <a:prstGeom prst="rect">
            <a:avLst/>
          </a:prstGeom>
        </p:spPr>
      </p:pic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482A353F-912E-AF04-08A7-165E5E20FD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23269" y="2726635"/>
            <a:ext cx="6064295" cy="70236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8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Presentation title</a:t>
            </a:r>
            <a:endParaRPr lang="en-IS"/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262C07EB-FC86-EEFC-41D4-C8DDEC0C609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23269" y="3627782"/>
            <a:ext cx="2731408" cy="70236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800" b="1">
                <a:solidFill>
                  <a:srgbClr val="928BE8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Speaker name</a:t>
            </a:r>
            <a:endParaRPr lang="en-IS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727DF1CF-435F-0451-D23F-00E275027E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856156" y="3627781"/>
            <a:ext cx="2731408" cy="70236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800" b="1">
                <a:solidFill>
                  <a:srgbClr val="928BE8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Speaker name</a:t>
            </a:r>
            <a:endParaRPr lang="en-I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3122ADC-3421-0AB3-412E-AF6350FA8C1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373758" y="198600"/>
            <a:ext cx="1616767" cy="665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035600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Shape&#10;&#10;Description automatically generated">
            <a:extLst>
              <a:ext uri="{FF2B5EF4-FFF2-40B4-BE49-F238E27FC236}">
                <a16:creationId xmlns:a16="http://schemas.microsoft.com/office/drawing/2014/main" id="{7BAEC0A5-F042-1F09-C5CD-FD5FBB7215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</a:blip>
          <a:srcRect l="46389" t="13373" b="23384"/>
          <a:stretch/>
        </p:blipFill>
        <p:spPr>
          <a:xfrm>
            <a:off x="-1" y="0"/>
            <a:ext cx="3946207" cy="6882969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55CC390D-A1FF-A90D-15BD-CE69E083366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7837741" y="-312610"/>
            <a:ext cx="3758739" cy="3190797"/>
          </a:xfrm>
          <a:prstGeom prst="rect">
            <a:avLst/>
          </a:prstGeom>
        </p:spPr>
      </p:pic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482A353F-912E-AF04-08A7-165E5E20FD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4716" y="2726635"/>
            <a:ext cx="5261546" cy="70236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4800" b="1">
                <a:solidFill>
                  <a:srgbClr val="943267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Presentation title</a:t>
            </a:r>
            <a:endParaRPr lang="en-I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9EADCDA5-22DB-19AF-ACD5-BA95557B100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99805" y="292309"/>
            <a:ext cx="2293496" cy="944381"/>
          </a:xfrm>
          <a:prstGeom prst="rect">
            <a:avLst/>
          </a:prstGeom>
        </p:spPr>
      </p:pic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727DF1CF-435F-0451-D23F-00E275027E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4715" y="3580239"/>
            <a:ext cx="4257374" cy="52670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800" b="1">
                <a:solidFill>
                  <a:srgbClr val="928BE8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Speaker name(s)</a:t>
            </a:r>
            <a:endParaRPr lang="en-I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15B98FE-067D-6072-61DD-57FFC40F38D0}"/>
              </a:ext>
            </a:extLst>
          </p:cNvPr>
          <p:cNvGrpSpPr/>
          <p:nvPr userDrawn="1"/>
        </p:nvGrpSpPr>
        <p:grpSpPr>
          <a:xfrm>
            <a:off x="5865191" y="1089455"/>
            <a:ext cx="6027004" cy="5793514"/>
            <a:chOff x="4871910" y="157589"/>
            <a:chExt cx="7121179" cy="6845300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02304D9D-C773-0409-ADFA-16F5B7457CD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rcRect/>
            <a:stretch/>
          </p:blipFill>
          <p:spPr>
            <a:xfrm>
              <a:off x="5951095" y="2395037"/>
              <a:ext cx="6041994" cy="4208715"/>
            </a:xfrm>
            <a:prstGeom prst="rect">
              <a:avLst/>
            </a:prstGeom>
          </p:spPr>
        </p:pic>
        <p:pic>
          <p:nvPicPr>
            <p:cNvPr id="15" name="Picture 14" descr="A statue of a person&#10;&#10;Description automatically generated with low confidence">
              <a:extLst>
                <a:ext uri="{FF2B5EF4-FFF2-40B4-BE49-F238E27FC236}">
                  <a16:creationId xmlns:a16="http://schemas.microsoft.com/office/drawing/2014/main" id="{EF892C6C-5C41-927B-A64A-78C0F988D16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4871910" y="157589"/>
              <a:ext cx="3187700" cy="68453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155798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/question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38D24EBB-B0EE-5B5B-C9A4-62843A93E3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1950" b="14882"/>
          <a:stretch/>
        </p:blipFill>
        <p:spPr>
          <a:xfrm>
            <a:off x="0" y="263470"/>
            <a:ext cx="5368582" cy="659453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CC4F0608-7EA4-7CA7-C0D3-6652B400D5B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7058362" y="263470"/>
            <a:ext cx="2205400" cy="908106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46EEB91-1FBF-2574-9E30-EFC890BC20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29300" y="4379729"/>
            <a:ext cx="5614988" cy="143229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6000" b="1">
                <a:solidFill>
                  <a:srgbClr val="943267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Insert text</a:t>
            </a:r>
            <a:endParaRPr lang="en-I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73CE865-93EA-B7C5-0EF0-E3C2D98B66F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849662" y="717523"/>
            <a:ext cx="4622800" cy="3924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932019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/questions B">
    <p:bg>
      <p:bgPr>
        <a:gradFill>
          <a:gsLst>
            <a:gs pos="0">
              <a:srgbClr val="943267"/>
            </a:gs>
            <a:gs pos="98000">
              <a:srgbClr val="200C3B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73A9C32-B246-2A33-D36E-DB3E9D295F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8402" t="12275" r="-1866" b="11542"/>
          <a:stretch/>
        </p:blipFill>
        <p:spPr>
          <a:xfrm>
            <a:off x="-1" y="-1"/>
            <a:ext cx="5439475" cy="685800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1338259C-E955-CAB6-94FE-B423BA04A50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9779950" y="119699"/>
            <a:ext cx="2205400" cy="908106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37317878-0881-97B6-CB3D-F6042E09A76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849662" y="717523"/>
            <a:ext cx="4622800" cy="3924300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BF58BA9E-C307-F67A-09E1-F8B0338B623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57926" y="4641823"/>
            <a:ext cx="4743450" cy="143229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6000" b="1">
                <a:solidFill>
                  <a:srgbClr val="928BE8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Insert text</a:t>
            </a:r>
            <a:endParaRPr lang="en-IS"/>
          </a:p>
        </p:txBody>
      </p:sp>
    </p:spTree>
    <p:extLst>
      <p:ext uri="{BB962C8B-B14F-4D97-AF65-F5344CB8AC3E}">
        <p14:creationId xmlns:p14="http://schemas.microsoft.com/office/powerpoint/2010/main" val="9997991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33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52.xml"/><Relationship Id="rId18" Type="http://schemas.openxmlformats.org/officeDocument/2006/relationships/image" Target="../media/image6.svg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41.xml"/><Relationship Id="rId16" Type="http://schemas.openxmlformats.org/officeDocument/2006/relationships/theme" Target="../theme/theme3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49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18" Type="http://schemas.openxmlformats.org/officeDocument/2006/relationships/image" Target="../media/image17.svg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image" Target="../media/image16.png"/><Relationship Id="rId2" Type="http://schemas.openxmlformats.org/officeDocument/2006/relationships/slideLayout" Target="../slideLayouts/slideLayout56.xml"/><Relationship Id="rId16" Type="http://schemas.openxmlformats.org/officeDocument/2006/relationships/theme" Target="../theme/theme4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10" Type="http://schemas.openxmlformats.org/officeDocument/2006/relationships/slideLayout" Target="../slideLayouts/slideLayout64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slideLayout" Target="../slideLayouts/slideLayout82.xml"/><Relationship Id="rId18" Type="http://schemas.openxmlformats.org/officeDocument/2006/relationships/slideLayout" Target="../slideLayouts/slideLayout87.xml"/><Relationship Id="rId3" Type="http://schemas.openxmlformats.org/officeDocument/2006/relationships/slideLayout" Target="../slideLayouts/slideLayout72.xml"/><Relationship Id="rId21" Type="http://schemas.openxmlformats.org/officeDocument/2006/relationships/slideLayout" Target="../slideLayouts/slideLayout90.xml"/><Relationship Id="rId7" Type="http://schemas.openxmlformats.org/officeDocument/2006/relationships/slideLayout" Target="../slideLayouts/slideLayout76.xml"/><Relationship Id="rId12" Type="http://schemas.openxmlformats.org/officeDocument/2006/relationships/slideLayout" Target="../slideLayouts/slideLayout81.xml"/><Relationship Id="rId17" Type="http://schemas.openxmlformats.org/officeDocument/2006/relationships/slideLayout" Target="../slideLayouts/slideLayout86.xml"/><Relationship Id="rId2" Type="http://schemas.openxmlformats.org/officeDocument/2006/relationships/slideLayout" Target="../slideLayouts/slideLayout71.xml"/><Relationship Id="rId16" Type="http://schemas.openxmlformats.org/officeDocument/2006/relationships/slideLayout" Target="../slideLayouts/slideLayout85.xml"/><Relationship Id="rId20" Type="http://schemas.openxmlformats.org/officeDocument/2006/relationships/slideLayout" Target="../slideLayouts/slideLayout89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24" Type="http://schemas.openxmlformats.org/officeDocument/2006/relationships/image" Target="../media/image30.png"/><Relationship Id="rId5" Type="http://schemas.openxmlformats.org/officeDocument/2006/relationships/slideLayout" Target="../slideLayouts/slideLayout74.xml"/><Relationship Id="rId15" Type="http://schemas.openxmlformats.org/officeDocument/2006/relationships/slideLayout" Target="../slideLayouts/slideLayout84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79.xml"/><Relationship Id="rId19" Type="http://schemas.openxmlformats.org/officeDocument/2006/relationships/slideLayout" Target="../slideLayouts/slideLayout88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slideLayout" Target="../slideLayouts/slideLayout83.xml"/><Relationship Id="rId22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3" Type="http://schemas.openxmlformats.org/officeDocument/2006/relationships/slideLayout" Target="../slideLayouts/slideLayout93.xml"/><Relationship Id="rId7" Type="http://schemas.openxmlformats.org/officeDocument/2006/relationships/slideLayout" Target="../slideLayouts/slideLayout9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92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95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3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106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104.xml"/><Relationship Id="rId10" Type="http://schemas.openxmlformats.org/officeDocument/2006/relationships/slideLayout" Target="../slideLayouts/slideLayout109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361D5C"/>
            </a:gs>
            <a:gs pos="98000">
              <a:srgbClr val="200C3B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91C1D87-411E-BFD4-C010-B40B10B65285}"/>
              </a:ext>
            </a:extLst>
          </p:cNvPr>
          <p:cNvPicPr>
            <a:picLocks noChangeAspect="1"/>
          </p:cNvPicPr>
          <p:nvPr userDrawn="1"/>
        </p:nvPicPr>
        <p:blipFill>
          <a:blip r:embed="rId25"/>
          <a:stretch>
            <a:fillRect/>
          </a:stretch>
        </p:blipFill>
        <p:spPr>
          <a:xfrm>
            <a:off x="-132372" y="0"/>
            <a:ext cx="889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C763751-87D5-0F64-4D3A-94B82F873706}"/>
              </a:ext>
            </a:extLst>
          </p:cNvPr>
          <p:cNvPicPr>
            <a:picLocks noChangeAspect="1"/>
          </p:cNvPicPr>
          <p:nvPr userDrawn="1"/>
        </p:nvPicPr>
        <p:blipFill>
          <a:blip r:embed="rId26"/>
          <a:srcRect/>
          <a:stretch/>
        </p:blipFill>
        <p:spPr>
          <a:xfrm>
            <a:off x="12235472" y="0"/>
            <a:ext cx="88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34446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  <p:sldLayoutId id="2147483852" r:id="rId4"/>
    <p:sldLayoutId id="2147483853" r:id="rId5"/>
    <p:sldLayoutId id="2147483854" r:id="rId6"/>
    <p:sldLayoutId id="2147483855" r:id="rId7"/>
    <p:sldLayoutId id="2147483856" r:id="rId8"/>
    <p:sldLayoutId id="2147483649" r:id="rId9"/>
    <p:sldLayoutId id="2147483857" r:id="rId10"/>
    <p:sldLayoutId id="2147483858" r:id="rId11"/>
    <p:sldLayoutId id="2147483859" r:id="rId12"/>
    <p:sldLayoutId id="2147483860" r:id="rId13"/>
    <p:sldLayoutId id="2147483861" r:id="rId14"/>
    <p:sldLayoutId id="2147483862" r:id="rId15"/>
    <p:sldLayoutId id="2147483863" r:id="rId16"/>
    <p:sldLayoutId id="2147483864" r:id="rId17"/>
    <p:sldLayoutId id="2147483832" r:id="rId18"/>
    <p:sldLayoutId id="2147483665" r:id="rId19"/>
    <p:sldLayoutId id="2147483650" r:id="rId20"/>
    <p:sldLayoutId id="2147483741" r:id="rId21"/>
    <p:sldLayoutId id="2147483742" r:id="rId22"/>
    <p:sldLayoutId id="2147483743" r:id="rId2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bg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I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106A422-490E-68ED-166D-62606FAA1BF3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-132372" y="0"/>
            <a:ext cx="88900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6F2C9FD-5195-CC65-B7E7-C6E13A0379EF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rcRect/>
          <a:stretch/>
        </p:blipFill>
        <p:spPr>
          <a:xfrm>
            <a:off x="12235472" y="0"/>
            <a:ext cx="88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1264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865" r:id="rId2"/>
    <p:sldLayoutId id="2147483866" r:id="rId3"/>
    <p:sldLayoutId id="2147483867" r:id="rId4"/>
    <p:sldLayoutId id="2147483868" r:id="rId5"/>
    <p:sldLayoutId id="2147483869" r:id="rId6"/>
    <p:sldLayoutId id="2147483845" r:id="rId7"/>
    <p:sldLayoutId id="2147483840" r:id="rId8"/>
    <p:sldLayoutId id="2147483819" r:id="rId9"/>
    <p:sldLayoutId id="2147483798" r:id="rId10"/>
    <p:sldLayoutId id="2147483793" r:id="rId11"/>
    <p:sldLayoutId id="2147483788" r:id="rId12"/>
    <p:sldLayoutId id="2147483783" r:id="rId13"/>
    <p:sldLayoutId id="2147483777" r:id="rId14"/>
    <p:sldLayoutId id="2147483686" r:id="rId15"/>
    <p:sldLayoutId id="2147483687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bg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I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0">
              <a:srgbClr val="361D5C"/>
            </a:gs>
            <a:gs pos="99000">
              <a:srgbClr val="200C3B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C7E639B9-1F5C-1F9E-8753-190530B4BF57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/>
          <a:stretch/>
        </p:blipFill>
        <p:spPr>
          <a:xfrm>
            <a:off x="11028357" y="6408394"/>
            <a:ext cx="1008000" cy="37270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1C4C19A-0357-F8C2-A1CB-FAA6583E37C8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-132372" y="0"/>
            <a:ext cx="88900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A69F154-45FA-B773-BDF7-BE175E07F61B}"/>
              </a:ext>
            </a:extLst>
          </p:cNvPr>
          <p:cNvPicPr>
            <a:picLocks noChangeAspect="1"/>
          </p:cNvPicPr>
          <p:nvPr userDrawn="1"/>
        </p:nvPicPr>
        <p:blipFill>
          <a:blip r:embed="rId20"/>
          <a:srcRect/>
          <a:stretch/>
        </p:blipFill>
        <p:spPr>
          <a:xfrm>
            <a:off x="12235472" y="0"/>
            <a:ext cx="88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57519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  <p:sldLayoutId id="2147483776" r:id="rId3"/>
    <p:sldLayoutId id="2147483672" r:id="rId4"/>
    <p:sldLayoutId id="2147483707" r:id="rId5"/>
    <p:sldLayoutId id="2147483673" r:id="rId6"/>
    <p:sldLayoutId id="2147483674" r:id="rId7"/>
    <p:sldLayoutId id="2147483675" r:id="rId8"/>
    <p:sldLayoutId id="2147483676" r:id="rId9"/>
    <p:sldLayoutId id="2147483708" r:id="rId10"/>
    <p:sldLayoutId id="2147483677" r:id="rId11"/>
    <p:sldLayoutId id="2147483678" r:id="rId12"/>
    <p:sldLayoutId id="2147483679" r:id="rId13"/>
    <p:sldLayoutId id="2147483680" r:id="rId14"/>
    <p:sldLayoutId id="2147483709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bg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I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C7E639B9-1F5C-1F9E-8753-190530B4BF57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/>
          <a:stretch/>
        </p:blipFill>
        <p:spPr>
          <a:xfrm>
            <a:off x="11028357" y="6408394"/>
            <a:ext cx="1008000" cy="37270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6A676C9-CF98-086A-0B38-6B4EEA03177B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-132372" y="0"/>
            <a:ext cx="88900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E4B95C1-875E-3529-235E-A1765AF87032}"/>
              </a:ext>
            </a:extLst>
          </p:cNvPr>
          <p:cNvPicPr>
            <a:picLocks noChangeAspect="1"/>
          </p:cNvPicPr>
          <p:nvPr userDrawn="1"/>
        </p:nvPicPr>
        <p:blipFill>
          <a:blip r:embed="rId20"/>
          <a:srcRect/>
          <a:stretch/>
        </p:blipFill>
        <p:spPr>
          <a:xfrm>
            <a:off x="12235472" y="0"/>
            <a:ext cx="88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3520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710" r:id="rId5"/>
    <p:sldLayoutId id="2147483697" r:id="rId6"/>
    <p:sldLayoutId id="2147483698" r:id="rId7"/>
    <p:sldLayoutId id="2147483699" r:id="rId8"/>
    <p:sldLayoutId id="2147483700" r:id="rId9"/>
    <p:sldLayoutId id="2147483711" r:id="rId10"/>
    <p:sldLayoutId id="2147483701" r:id="rId11"/>
    <p:sldLayoutId id="2147483702" r:id="rId12"/>
    <p:sldLayoutId id="2147483703" r:id="rId13"/>
    <p:sldLayoutId id="2147483704" r:id="rId14"/>
    <p:sldLayoutId id="2147483712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bg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I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361D5C"/>
            </a:gs>
            <a:gs pos="98000">
              <a:srgbClr val="200C3B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91C1D87-411E-BFD4-C010-B40B10B65285}"/>
              </a:ext>
            </a:extLst>
          </p:cNvPr>
          <p:cNvPicPr>
            <a:picLocks noChangeAspect="1"/>
          </p:cNvPicPr>
          <p:nvPr userDrawn="1"/>
        </p:nvPicPr>
        <p:blipFill>
          <a:blip r:embed="rId23"/>
          <a:stretch>
            <a:fillRect/>
          </a:stretch>
        </p:blipFill>
        <p:spPr>
          <a:xfrm>
            <a:off x="-132372" y="0"/>
            <a:ext cx="889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C763751-87D5-0F64-4D3A-94B82F873706}"/>
              </a:ext>
            </a:extLst>
          </p:cNvPr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>
            <a:off x="12235472" y="0"/>
            <a:ext cx="88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467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59" r:id="rId9"/>
    <p:sldLayoutId id="2147483761" r:id="rId10"/>
    <p:sldLayoutId id="2147483760" r:id="rId11"/>
    <p:sldLayoutId id="2147483727" r:id="rId12"/>
    <p:sldLayoutId id="2147483762" r:id="rId13"/>
    <p:sldLayoutId id="2147483763" r:id="rId14"/>
    <p:sldLayoutId id="2147483764" r:id="rId15"/>
    <p:sldLayoutId id="2147483735" r:id="rId16"/>
    <p:sldLayoutId id="2147483736" r:id="rId17"/>
    <p:sldLayoutId id="2147483737" r:id="rId18"/>
    <p:sldLayoutId id="2147483738" r:id="rId19"/>
    <p:sldLayoutId id="2147483739" r:id="rId20"/>
    <p:sldLayoutId id="2147483740" r:id="rId2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bg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I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0">
              <a:srgbClr val="361D5C"/>
            </a:gs>
            <a:gs pos="98000">
              <a:srgbClr val="200C3B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91C1D87-411E-BFD4-C010-B40B10B65285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-132372" y="0"/>
            <a:ext cx="889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C763751-87D5-0F64-4D3A-94B82F873706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rcRect/>
          <a:stretch/>
        </p:blipFill>
        <p:spPr>
          <a:xfrm>
            <a:off x="12235472" y="0"/>
            <a:ext cx="88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0186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6" r:id="rId2"/>
    <p:sldLayoutId id="2147483725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bg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I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5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C2A69C-BEB4-874C-9CCA-A05B547D37AD}" type="datetimeFigureOut">
              <a:rPr lang="en-IS" smtClean="0"/>
              <a:t>05/26/2023</a:t>
            </a:fld>
            <a:endParaRPr lang="en-I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5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5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BE1D2B-44C1-4D4D-9299-38F9FD643B27}" type="slidenum">
              <a:rPr lang="en-IS" smtClean="0"/>
              <a:t>‹#›</a:t>
            </a:fld>
            <a:endParaRPr lang="en-IS"/>
          </a:p>
        </p:txBody>
      </p:sp>
    </p:spTree>
    <p:extLst>
      <p:ext uri="{BB962C8B-B14F-4D97-AF65-F5344CB8AC3E}">
        <p14:creationId xmlns:p14="http://schemas.microsoft.com/office/powerpoint/2010/main" val="4776218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8" r:id="rId1"/>
    <p:sldLayoutId id="2147483809" r:id="rId2"/>
    <p:sldLayoutId id="2147483814" r:id="rId3"/>
    <p:sldLayoutId id="2147483810" r:id="rId4"/>
    <p:sldLayoutId id="2147483811" r:id="rId5"/>
    <p:sldLayoutId id="2147483803" r:id="rId6"/>
    <p:sldLayoutId id="2147483804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881573" rtl="0" eaLnBrk="1" latinLnBrk="0" hangingPunct="1">
        <a:lnSpc>
          <a:spcPct val="90000"/>
        </a:lnSpc>
        <a:spcBef>
          <a:spcPct val="0"/>
        </a:spcBef>
        <a:buNone/>
        <a:defRPr sz="424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0393" indent="-220393" algn="l" defTabSz="881573" rtl="0" eaLnBrk="1" latinLnBrk="0" hangingPunct="1">
        <a:lnSpc>
          <a:spcPct val="90000"/>
        </a:lnSpc>
        <a:spcBef>
          <a:spcPts val="964"/>
        </a:spcBef>
        <a:buFont typeface="Arial" panose="020B0604020202020204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1pPr>
      <a:lvl2pPr marL="661180" indent="-220393" algn="l" defTabSz="881573" rtl="0" eaLnBrk="1" latinLnBrk="0" hangingPunct="1">
        <a:lnSpc>
          <a:spcPct val="90000"/>
        </a:lnSpc>
        <a:spcBef>
          <a:spcPts val="482"/>
        </a:spcBef>
        <a:buFont typeface="Arial" panose="020B0604020202020204" pitchFamily="34" charset="0"/>
        <a:buChar char="•"/>
        <a:defRPr sz="2314" kern="1200">
          <a:solidFill>
            <a:schemeClr val="tx1"/>
          </a:solidFill>
          <a:latin typeface="+mn-lt"/>
          <a:ea typeface="+mn-ea"/>
          <a:cs typeface="+mn-cs"/>
        </a:defRPr>
      </a:lvl2pPr>
      <a:lvl3pPr marL="1101966" indent="-220393" algn="l" defTabSz="881573" rtl="0" eaLnBrk="1" latinLnBrk="0" hangingPunct="1">
        <a:lnSpc>
          <a:spcPct val="90000"/>
        </a:lnSpc>
        <a:spcBef>
          <a:spcPts val="482"/>
        </a:spcBef>
        <a:buFont typeface="Arial" panose="020B0604020202020204" pitchFamily="34" charset="0"/>
        <a:buChar char="•"/>
        <a:defRPr sz="1928" kern="1200">
          <a:solidFill>
            <a:schemeClr val="tx1"/>
          </a:solidFill>
          <a:latin typeface="+mn-lt"/>
          <a:ea typeface="+mn-ea"/>
          <a:cs typeface="+mn-cs"/>
        </a:defRPr>
      </a:lvl3pPr>
      <a:lvl4pPr marL="1542753" indent="-220393" algn="l" defTabSz="881573" rtl="0" eaLnBrk="1" latinLnBrk="0" hangingPunct="1">
        <a:lnSpc>
          <a:spcPct val="90000"/>
        </a:lnSpc>
        <a:spcBef>
          <a:spcPts val="482"/>
        </a:spcBef>
        <a:buFont typeface="Arial" panose="020B0604020202020204" pitchFamily="34" charset="0"/>
        <a:buChar char="•"/>
        <a:defRPr sz="1735" kern="1200">
          <a:solidFill>
            <a:schemeClr val="tx1"/>
          </a:solidFill>
          <a:latin typeface="+mn-lt"/>
          <a:ea typeface="+mn-ea"/>
          <a:cs typeface="+mn-cs"/>
        </a:defRPr>
      </a:lvl4pPr>
      <a:lvl5pPr marL="1983539" indent="-220393" algn="l" defTabSz="881573" rtl="0" eaLnBrk="1" latinLnBrk="0" hangingPunct="1">
        <a:lnSpc>
          <a:spcPct val="90000"/>
        </a:lnSpc>
        <a:spcBef>
          <a:spcPts val="482"/>
        </a:spcBef>
        <a:buFont typeface="Arial" panose="020B0604020202020204" pitchFamily="34" charset="0"/>
        <a:buChar char="•"/>
        <a:defRPr sz="1735" kern="1200">
          <a:solidFill>
            <a:schemeClr val="tx1"/>
          </a:solidFill>
          <a:latin typeface="+mn-lt"/>
          <a:ea typeface="+mn-ea"/>
          <a:cs typeface="+mn-cs"/>
        </a:defRPr>
      </a:lvl5pPr>
      <a:lvl6pPr marL="2424326" indent="-220393" algn="l" defTabSz="881573" rtl="0" eaLnBrk="1" latinLnBrk="0" hangingPunct="1">
        <a:lnSpc>
          <a:spcPct val="90000"/>
        </a:lnSpc>
        <a:spcBef>
          <a:spcPts val="482"/>
        </a:spcBef>
        <a:buFont typeface="Arial" panose="020B0604020202020204" pitchFamily="34" charset="0"/>
        <a:buChar char="•"/>
        <a:defRPr sz="1735" kern="1200">
          <a:solidFill>
            <a:schemeClr val="tx1"/>
          </a:solidFill>
          <a:latin typeface="+mn-lt"/>
          <a:ea typeface="+mn-ea"/>
          <a:cs typeface="+mn-cs"/>
        </a:defRPr>
      </a:lvl6pPr>
      <a:lvl7pPr marL="2865112" indent="-220393" algn="l" defTabSz="881573" rtl="0" eaLnBrk="1" latinLnBrk="0" hangingPunct="1">
        <a:lnSpc>
          <a:spcPct val="90000"/>
        </a:lnSpc>
        <a:spcBef>
          <a:spcPts val="482"/>
        </a:spcBef>
        <a:buFont typeface="Arial" panose="020B0604020202020204" pitchFamily="34" charset="0"/>
        <a:buChar char="•"/>
        <a:defRPr sz="1735" kern="1200">
          <a:solidFill>
            <a:schemeClr val="tx1"/>
          </a:solidFill>
          <a:latin typeface="+mn-lt"/>
          <a:ea typeface="+mn-ea"/>
          <a:cs typeface="+mn-cs"/>
        </a:defRPr>
      </a:lvl7pPr>
      <a:lvl8pPr marL="3305899" indent="-220393" algn="l" defTabSz="881573" rtl="0" eaLnBrk="1" latinLnBrk="0" hangingPunct="1">
        <a:lnSpc>
          <a:spcPct val="90000"/>
        </a:lnSpc>
        <a:spcBef>
          <a:spcPts val="482"/>
        </a:spcBef>
        <a:buFont typeface="Arial" panose="020B0604020202020204" pitchFamily="34" charset="0"/>
        <a:buChar char="•"/>
        <a:defRPr sz="1735" kern="1200">
          <a:solidFill>
            <a:schemeClr val="tx1"/>
          </a:solidFill>
          <a:latin typeface="+mn-lt"/>
          <a:ea typeface="+mn-ea"/>
          <a:cs typeface="+mn-cs"/>
        </a:defRPr>
      </a:lvl8pPr>
      <a:lvl9pPr marL="3746685" indent="-220393" algn="l" defTabSz="881573" rtl="0" eaLnBrk="1" latinLnBrk="0" hangingPunct="1">
        <a:lnSpc>
          <a:spcPct val="90000"/>
        </a:lnSpc>
        <a:spcBef>
          <a:spcPts val="482"/>
        </a:spcBef>
        <a:buFont typeface="Arial" panose="020B0604020202020204" pitchFamily="34" charset="0"/>
        <a:buChar char="•"/>
        <a:defRPr sz="173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81573" rtl="0" eaLnBrk="1" latinLnBrk="0" hangingPunct="1">
        <a:defRPr sz="1735" kern="1200">
          <a:solidFill>
            <a:schemeClr val="tx1"/>
          </a:solidFill>
          <a:latin typeface="+mn-lt"/>
          <a:ea typeface="+mn-ea"/>
          <a:cs typeface="+mn-cs"/>
        </a:defRPr>
      </a:lvl1pPr>
      <a:lvl2pPr marL="440787" algn="l" defTabSz="881573" rtl="0" eaLnBrk="1" latinLnBrk="0" hangingPunct="1">
        <a:defRPr sz="1735" kern="1200">
          <a:solidFill>
            <a:schemeClr val="tx1"/>
          </a:solidFill>
          <a:latin typeface="+mn-lt"/>
          <a:ea typeface="+mn-ea"/>
          <a:cs typeface="+mn-cs"/>
        </a:defRPr>
      </a:lvl2pPr>
      <a:lvl3pPr marL="881573" algn="l" defTabSz="881573" rtl="0" eaLnBrk="1" latinLnBrk="0" hangingPunct="1">
        <a:defRPr sz="1735" kern="1200">
          <a:solidFill>
            <a:schemeClr val="tx1"/>
          </a:solidFill>
          <a:latin typeface="+mn-lt"/>
          <a:ea typeface="+mn-ea"/>
          <a:cs typeface="+mn-cs"/>
        </a:defRPr>
      </a:lvl3pPr>
      <a:lvl4pPr marL="1322360" algn="l" defTabSz="881573" rtl="0" eaLnBrk="1" latinLnBrk="0" hangingPunct="1">
        <a:defRPr sz="1735" kern="1200">
          <a:solidFill>
            <a:schemeClr val="tx1"/>
          </a:solidFill>
          <a:latin typeface="+mn-lt"/>
          <a:ea typeface="+mn-ea"/>
          <a:cs typeface="+mn-cs"/>
        </a:defRPr>
      </a:lvl4pPr>
      <a:lvl5pPr marL="1763146" algn="l" defTabSz="881573" rtl="0" eaLnBrk="1" latinLnBrk="0" hangingPunct="1">
        <a:defRPr sz="1735" kern="1200">
          <a:solidFill>
            <a:schemeClr val="tx1"/>
          </a:solidFill>
          <a:latin typeface="+mn-lt"/>
          <a:ea typeface="+mn-ea"/>
          <a:cs typeface="+mn-cs"/>
        </a:defRPr>
      </a:lvl5pPr>
      <a:lvl6pPr marL="2203933" algn="l" defTabSz="881573" rtl="0" eaLnBrk="1" latinLnBrk="0" hangingPunct="1">
        <a:defRPr sz="1735" kern="1200">
          <a:solidFill>
            <a:schemeClr val="tx1"/>
          </a:solidFill>
          <a:latin typeface="+mn-lt"/>
          <a:ea typeface="+mn-ea"/>
          <a:cs typeface="+mn-cs"/>
        </a:defRPr>
      </a:lvl6pPr>
      <a:lvl7pPr marL="2644719" algn="l" defTabSz="881573" rtl="0" eaLnBrk="1" latinLnBrk="0" hangingPunct="1">
        <a:defRPr sz="1735" kern="1200">
          <a:solidFill>
            <a:schemeClr val="tx1"/>
          </a:solidFill>
          <a:latin typeface="+mn-lt"/>
          <a:ea typeface="+mn-ea"/>
          <a:cs typeface="+mn-cs"/>
        </a:defRPr>
      </a:lvl7pPr>
      <a:lvl8pPr marL="3085506" algn="l" defTabSz="881573" rtl="0" eaLnBrk="1" latinLnBrk="0" hangingPunct="1">
        <a:defRPr sz="1735" kern="1200">
          <a:solidFill>
            <a:schemeClr val="tx1"/>
          </a:solidFill>
          <a:latin typeface="+mn-lt"/>
          <a:ea typeface="+mn-ea"/>
          <a:cs typeface="+mn-cs"/>
        </a:defRPr>
      </a:lvl8pPr>
      <a:lvl9pPr marL="3526292" algn="l" defTabSz="881573" rtl="0" eaLnBrk="1" latinLnBrk="0" hangingPunct="1">
        <a:defRPr sz="173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3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image" Target="../media/image63.png"/><Relationship Id="rId7" Type="http://schemas.openxmlformats.org/officeDocument/2006/relationships/image" Target="../media/image6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65.png"/><Relationship Id="rId5" Type="http://schemas.openxmlformats.org/officeDocument/2006/relationships/image" Target="../media/image49.png"/><Relationship Id="rId4" Type="http://schemas.openxmlformats.org/officeDocument/2006/relationships/image" Target="../media/image6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69.png"/><Relationship Id="rId4" Type="http://schemas.openxmlformats.org/officeDocument/2006/relationships/image" Target="../media/image6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72.png"/><Relationship Id="rId4" Type="http://schemas.openxmlformats.org/officeDocument/2006/relationships/image" Target="../media/image7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7.xml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4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75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3" Type="http://schemas.openxmlformats.org/officeDocument/2006/relationships/image" Target="../media/image49.png"/><Relationship Id="rId7" Type="http://schemas.openxmlformats.org/officeDocument/2006/relationships/image" Target="../media/image79.png"/><Relationship Id="rId12" Type="http://schemas.openxmlformats.org/officeDocument/2006/relationships/image" Target="../media/image8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78.png"/><Relationship Id="rId11" Type="http://schemas.openxmlformats.org/officeDocument/2006/relationships/image" Target="../media/image83.png"/><Relationship Id="rId5" Type="http://schemas.openxmlformats.org/officeDocument/2006/relationships/image" Target="../media/image77.png"/><Relationship Id="rId10" Type="http://schemas.openxmlformats.org/officeDocument/2006/relationships/image" Target="../media/image82.png"/><Relationship Id="rId4" Type="http://schemas.openxmlformats.org/officeDocument/2006/relationships/image" Target="../media/image76.png"/><Relationship Id="rId9" Type="http://schemas.openxmlformats.org/officeDocument/2006/relationships/image" Target="../media/image8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4.xml"/><Relationship Id="rId4" Type="http://schemas.openxmlformats.org/officeDocument/2006/relationships/image" Target="../media/image49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7" Type="http://schemas.openxmlformats.org/officeDocument/2006/relationships/image" Target="../media/image8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88.png"/><Relationship Id="rId5" Type="http://schemas.openxmlformats.org/officeDocument/2006/relationships/image" Target="../media/image87.png"/><Relationship Id="rId4" Type="http://schemas.openxmlformats.org/officeDocument/2006/relationships/image" Target="../media/image86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7" Type="http://schemas.openxmlformats.org/officeDocument/2006/relationships/image" Target="../media/image9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92.png"/><Relationship Id="rId5" Type="http://schemas.openxmlformats.org/officeDocument/2006/relationships/image" Target="../media/image91.png"/><Relationship Id="rId4" Type="http://schemas.openxmlformats.org/officeDocument/2006/relationships/image" Target="../media/image9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97.jpeg"/><Relationship Id="rId4" Type="http://schemas.openxmlformats.org/officeDocument/2006/relationships/image" Target="../media/image96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1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1.xml"/><Relationship Id="rId4" Type="http://schemas.openxmlformats.org/officeDocument/2006/relationships/image" Target="../media/image5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1.xml"/><Relationship Id="rId4" Type="http://schemas.openxmlformats.org/officeDocument/2006/relationships/image" Target="../media/image5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3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E3A27D0-DD6B-F1BC-BBD5-684F489A4E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7268" y="2580498"/>
            <a:ext cx="6064295" cy="702365"/>
          </a:xfrm>
        </p:spPr>
        <p:txBody>
          <a:bodyPr/>
          <a:lstStyle/>
          <a:p>
            <a:r>
              <a:rPr lang="en-US"/>
              <a:t>Women in Dynamics</a:t>
            </a:r>
            <a:endParaRPr lang="en-I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840A05-CD41-E8D6-E254-E336D38EE7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5952" y="3627782"/>
            <a:ext cx="6064294" cy="2272956"/>
          </a:xfrm>
        </p:spPr>
        <p:txBody>
          <a:bodyPr lIns="91440" tIns="45720" rIns="91440" bIns="45720" anchor="t"/>
          <a:lstStyle/>
          <a:p>
            <a:r>
              <a:rPr lang="en-US" dirty="0">
                <a:solidFill>
                  <a:srgbClr val="C6C2F5"/>
                </a:solidFill>
                <a:latin typeface="Segoe UI"/>
                <a:cs typeface="Segoe UI"/>
              </a:rPr>
              <a:t>Peter </a:t>
            </a:r>
            <a:r>
              <a:rPr lang="en-US" dirty="0" err="1">
                <a:solidFill>
                  <a:srgbClr val="C6C2F5"/>
                </a:solidFill>
                <a:latin typeface="Segoe UI"/>
                <a:cs typeface="Segoe UI"/>
              </a:rPr>
              <a:t>Vach</a:t>
            </a:r>
            <a:endParaRPr lang="en-US" dirty="0">
              <a:solidFill>
                <a:srgbClr val="C6C2F5"/>
              </a:solidFill>
              <a:latin typeface="Segoe UI"/>
              <a:cs typeface="Segoe UI"/>
            </a:endParaRPr>
          </a:p>
          <a:p>
            <a:r>
              <a:rPr lang="en-US" dirty="0">
                <a:solidFill>
                  <a:srgbClr val="C6C2F5"/>
                </a:solidFill>
                <a:latin typeface="Segoe UI"/>
                <a:cs typeface="Segoe UI"/>
              </a:rPr>
              <a:t>Muriel </a:t>
            </a:r>
            <a:r>
              <a:rPr lang="en-US" dirty="0" err="1">
                <a:solidFill>
                  <a:srgbClr val="C6C2F5"/>
                </a:solidFill>
                <a:latin typeface="Segoe UI"/>
                <a:cs typeface="Segoe UI"/>
              </a:rPr>
              <a:t>Léglise</a:t>
            </a:r>
            <a:endParaRPr lang="en-US" dirty="0">
              <a:solidFill>
                <a:srgbClr val="C6C2F5"/>
              </a:solidFill>
              <a:latin typeface="Segoe UI"/>
              <a:cs typeface="Segoe UI"/>
            </a:endParaRPr>
          </a:p>
          <a:p>
            <a:r>
              <a:rPr lang="en-US" dirty="0">
                <a:solidFill>
                  <a:srgbClr val="C6C2F5"/>
                </a:solidFill>
                <a:latin typeface="Segoe UI"/>
                <a:cs typeface="Segoe UI"/>
              </a:rPr>
              <a:t>Olga </a:t>
            </a:r>
            <a:r>
              <a:rPr lang="en-US" dirty="0" err="1">
                <a:solidFill>
                  <a:srgbClr val="C6C2F5"/>
                </a:solidFill>
                <a:latin typeface="Segoe UI"/>
                <a:cs typeface="Segoe UI"/>
              </a:rPr>
              <a:t>Ingolfsdottir</a:t>
            </a:r>
            <a:endParaRPr lang="en-US" dirty="0">
              <a:solidFill>
                <a:srgbClr val="C6C2F5"/>
              </a:solidFill>
              <a:latin typeface="Segoe UI"/>
              <a:cs typeface="Segoe UI"/>
            </a:endParaRPr>
          </a:p>
          <a:p>
            <a:r>
              <a:rPr lang="en-US" dirty="0">
                <a:solidFill>
                  <a:srgbClr val="C6C2F5"/>
                </a:solidFill>
                <a:latin typeface="Segoe UI"/>
                <a:cs typeface="Segoe UI"/>
              </a:rPr>
              <a:t>Ivy </a:t>
            </a:r>
            <a:r>
              <a:rPr lang="en-US" dirty="0" err="1">
                <a:solidFill>
                  <a:srgbClr val="C6C2F5"/>
                </a:solidFill>
                <a:latin typeface="Segoe UI"/>
                <a:cs typeface="Segoe UI"/>
              </a:rPr>
              <a:t>Bumanglag</a:t>
            </a:r>
            <a:r>
              <a:rPr lang="en-US" dirty="0">
                <a:solidFill>
                  <a:srgbClr val="C6C2F5"/>
                </a:solidFill>
                <a:latin typeface="Segoe UI"/>
                <a:cs typeface="Segoe UI"/>
              </a:rPr>
              <a:t> &amp; Bo Lundqvist</a:t>
            </a:r>
            <a:endParaRPr lang="en-US" dirty="0">
              <a:solidFill>
                <a:srgbClr val="C6C2F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09697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 descr="Map&#10;&#10;Description automatically generated">
            <a:extLst>
              <a:ext uri="{FF2B5EF4-FFF2-40B4-BE49-F238E27FC236}">
                <a16:creationId xmlns:a16="http://schemas.microsoft.com/office/drawing/2014/main" id="{7433CCF9-0471-2CCB-68D0-5750B60360FE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/>
          <a:srcRect/>
          <a:stretch/>
        </p:blipFill>
        <p:spPr>
          <a:xfrm>
            <a:off x="20" y="10"/>
            <a:ext cx="12191980" cy="6857990"/>
          </a:xfrm>
          <a:noFill/>
        </p:spPr>
      </p:pic>
    </p:spTree>
    <p:extLst>
      <p:ext uri="{BB962C8B-B14F-4D97-AF65-F5344CB8AC3E}">
        <p14:creationId xmlns:p14="http://schemas.microsoft.com/office/powerpoint/2010/main" val="12192790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 descr="A picture containing diagram&#10;&#10;Description automatically generated">
            <a:extLst>
              <a:ext uri="{FF2B5EF4-FFF2-40B4-BE49-F238E27FC236}">
                <a16:creationId xmlns:a16="http://schemas.microsoft.com/office/drawing/2014/main" id="{70F71FC7-5279-3378-F273-ED5AAB149883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/>
          <a:srcRect/>
          <a:stretch/>
        </p:blipFill>
        <p:spPr>
          <a:xfrm>
            <a:off x="20" y="10"/>
            <a:ext cx="12191980" cy="6857990"/>
          </a:xfrm>
          <a:noFill/>
        </p:spPr>
      </p:pic>
    </p:spTree>
    <p:extLst>
      <p:ext uri="{BB962C8B-B14F-4D97-AF65-F5344CB8AC3E}">
        <p14:creationId xmlns:p14="http://schemas.microsoft.com/office/powerpoint/2010/main" val="13305450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3A07A99-A53B-DE2B-0C84-E623655D653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704" y="1390606"/>
            <a:ext cx="11484279" cy="5073650"/>
          </a:xfrm>
        </p:spPr>
        <p:txBody>
          <a:bodyPr lIns="91440" tIns="45720" rIns="91440" bIns="45720" anchor="t"/>
          <a:lstStyle/>
          <a:p>
            <a:pPr marL="0" indent="0">
              <a:buNone/>
            </a:pPr>
            <a:r>
              <a:rPr lang="en-US" b="1">
                <a:latin typeface="Segoe UI"/>
                <a:cs typeface="Segoe UI"/>
              </a:rPr>
              <a:t>Mentorship program</a:t>
            </a:r>
            <a:endParaRPr lang="en-US">
              <a:latin typeface="Segoe UI"/>
              <a:cs typeface="Segoe UI"/>
            </a:endParaRPr>
          </a:p>
          <a:p>
            <a:pPr>
              <a:buFont typeface="Arial"/>
              <a:buChar char="•"/>
            </a:pPr>
            <a:r>
              <a:rPr lang="en-US" sz="2400">
                <a:latin typeface="Segoe UI"/>
                <a:cs typeface="Segoe UI"/>
              </a:rPr>
              <a:t>In progress: expansion</a:t>
            </a:r>
            <a:br>
              <a:rPr lang="en-US" sz="2400">
                <a:latin typeface="Segoe UI"/>
                <a:cs typeface="Segoe UI"/>
              </a:rPr>
            </a:br>
            <a:endParaRPr lang="en-US" sz="1800"/>
          </a:p>
          <a:p>
            <a:pPr marL="0" indent="0">
              <a:buNone/>
            </a:pPr>
            <a:r>
              <a:rPr lang="en-US" b="1">
                <a:latin typeface="Segoe UI"/>
                <a:cs typeface="Segoe UI"/>
              </a:rPr>
              <a:t>Online trainings for employees</a:t>
            </a:r>
            <a:endParaRPr lang="en-US"/>
          </a:p>
          <a:p>
            <a:r>
              <a:rPr lang="en-US" sz="2400">
                <a:latin typeface="Segoe UI"/>
                <a:cs typeface="Segoe UI"/>
              </a:rPr>
              <a:t>In progress: developing LS Academy</a:t>
            </a:r>
          </a:p>
          <a:p>
            <a:endParaRPr lang="en-US" sz="2400">
              <a:latin typeface="Segoe UI"/>
              <a:cs typeface="Segoe UI"/>
            </a:endParaRPr>
          </a:p>
          <a:p>
            <a:pPr marL="0" indent="0">
              <a:buNone/>
            </a:pPr>
            <a:r>
              <a:rPr lang="en-US" b="1">
                <a:latin typeface="Segoe UI"/>
                <a:cs typeface="Segoe UI"/>
              </a:rPr>
              <a:t>DEI survey</a:t>
            </a:r>
          </a:p>
          <a:p>
            <a:r>
              <a:rPr lang="en-US" sz="2400">
                <a:latin typeface="Segoe UI"/>
                <a:cs typeface="Segoe UI"/>
              </a:rPr>
              <a:t>In progress </a:t>
            </a:r>
          </a:p>
          <a:p>
            <a:endParaRPr lang="en-US"/>
          </a:p>
          <a:p>
            <a:endParaRPr lang="en-US"/>
          </a:p>
          <a:p>
            <a:pPr marL="457200" lvl="1" indent="0">
              <a:buNone/>
            </a:pPr>
            <a:endParaRPr lang="en-US"/>
          </a:p>
        </p:txBody>
      </p:sp>
      <p:pic>
        <p:nvPicPr>
          <p:cNvPr id="7" name="Picture 8" descr="A picture containing icon&#10;&#10;Description automatically generated">
            <a:extLst>
              <a:ext uri="{FF2B5EF4-FFF2-40B4-BE49-F238E27FC236}">
                <a16:creationId xmlns:a16="http://schemas.microsoft.com/office/drawing/2014/main" id="{1EC6F187-574B-9D54-DFC4-BE373A8106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96359" y="1390606"/>
            <a:ext cx="6190937" cy="5073650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B48FE392-B8A7-7240-0A43-3E6445FB2999}"/>
              </a:ext>
            </a:extLst>
          </p:cNvPr>
          <p:cNvSpPr txBox="1">
            <a:spLocks/>
          </p:cNvSpPr>
          <p:nvPr/>
        </p:nvSpPr>
        <p:spPr>
          <a:xfrm>
            <a:off x="249836" y="590458"/>
            <a:ext cx="11039475" cy="588963"/>
          </a:xfrm>
          <a:prstGeom prst="rect">
            <a:avLst/>
          </a:prstGeom>
        </p:spPr>
        <p:txBody>
          <a:bodyPr lIns="91440" tIns="45720" rIns="91440" bIns="45720" anchor="t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bg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dirty="0">
                <a:solidFill>
                  <a:srgbClr val="943267"/>
                </a:solidFill>
                <a:latin typeface="Segoe UI"/>
                <a:cs typeface="Segoe UI"/>
              </a:rPr>
              <a:t>Actions for a more inclusive environment ?</a:t>
            </a:r>
            <a:endParaRPr lang="en-US" dirty="0">
              <a:solidFill>
                <a:srgbClr val="9432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68273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Logo, icon&#10;&#10;Description automatically generated">
            <a:extLst>
              <a:ext uri="{FF2B5EF4-FFF2-40B4-BE49-F238E27FC236}">
                <a16:creationId xmlns:a16="http://schemas.microsoft.com/office/drawing/2014/main" id="{19E2BE54-CA09-2A10-FFEA-B62ECFD98A1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75031" y="965004"/>
            <a:ext cx="4241939" cy="49279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9223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49A470-2A97-C76B-BC9E-3772CE7D8E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is-IS" err="1">
                <a:solidFill>
                  <a:srgbClr val="29B4A9"/>
                </a:solidFill>
                <a:latin typeface="Segoe UI"/>
                <a:cs typeface="Segoe UI"/>
              </a:rPr>
              <a:t>Inclusive</a:t>
            </a:r>
            <a:r>
              <a:rPr lang="is-IS">
                <a:solidFill>
                  <a:srgbClr val="29B4A9"/>
                </a:solidFill>
                <a:latin typeface="Segoe UI"/>
                <a:cs typeface="Segoe UI"/>
              </a:rPr>
              <a:t> </a:t>
            </a:r>
            <a:r>
              <a:rPr lang="is-IS" err="1">
                <a:solidFill>
                  <a:srgbClr val="29B4A9"/>
                </a:solidFill>
                <a:latin typeface="Segoe UI"/>
                <a:cs typeface="Segoe UI"/>
              </a:rPr>
              <a:t>environment</a:t>
            </a:r>
            <a:r>
              <a:rPr lang="is-IS">
                <a:solidFill>
                  <a:srgbClr val="29B4A9"/>
                </a:solidFill>
                <a:latin typeface="Segoe UI"/>
                <a:cs typeface="Segoe UI"/>
              </a:rPr>
              <a:t>: </a:t>
            </a:r>
            <a:r>
              <a:rPr lang="is-IS" b="0" err="1">
                <a:solidFill>
                  <a:schemeClr val="bg1"/>
                </a:solidFill>
                <a:latin typeface="Segoe UI"/>
                <a:cs typeface="Segoe UI"/>
              </a:rPr>
              <a:t>Recruitment</a:t>
            </a:r>
            <a:endParaRPr lang="en-US" b="0" err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C09D1B-D0CE-6224-A4E8-AD84C6E8C7C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lIns="91440" tIns="45720" rIns="91440" bIns="45720" anchor="t"/>
          <a:lstStyle/>
          <a:p>
            <a:pPr marL="0" indent="0">
              <a:buNone/>
            </a:pPr>
            <a:r>
              <a:rPr lang="en-US" b="1" dirty="0">
                <a:latin typeface="Segoe UI"/>
                <a:cs typeface="Segoe UI"/>
              </a:rPr>
              <a:t>Hiring manager training</a:t>
            </a:r>
          </a:p>
          <a:p>
            <a:pPr lvl="1"/>
            <a:r>
              <a:rPr lang="en-US" dirty="0">
                <a:latin typeface="Segoe UI"/>
                <a:cs typeface="Segoe UI"/>
              </a:rPr>
              <a:t>In progress with DEI component</a:t>
            </a:r>
          </a:p>
          <a:p>
            <a:pPr marL="457200" lvl="1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>
                <a:latin typeface="Segoe UI"/>
                <a:cs typeface="Segoe UI"/>
              </a:rPr>
              <a:t>Branding our values</a:t>
            </a:r>
            <a:endParaRPr lang="en-US" dirty="0">
              <a:latin typeface="Segoe UI"/>
              <a:cs typeface="Segoe UI"/>
            </a:endParaRPr>
          </a:p>
          <a:p>
            <a:pPr marL="971550" lvl="1" indent="-285750">
              <a:buFont typeface="Arial"/>
              <a:buChar char="•"/>
            </a:pPr>
            <a:r>
              <a:rPr lang="en-US" dirty="0">
                <a:latin typeface="Segoe UI"/>
                <a:cs typeface="Segoe UI"/>
              </a:rPr>
              <a:t>People-centric, inclusive language and images in ads and website</a:t>
            </a:r>
            <a:br>
              <a:rPr lang="en-US" dirty="0">
                <a:latin typeface="Segoe UI"/>
                <a:cs typeface="Segoe UI"/>
              </a:rPr>
            </a:br>
            <a:endParaRPr lang="en-US" dirty="0">
              <a:latin typeface="Segoe UI"/>
              <a:cs typeface="Segoe UI"/>
            </a:endParaRPr>
          </a:p>
          <a:p>
            <a:pPr marL="0" indent="0">
              <a:buNone/>
            </a:pPr>
            <a:r>
              <a:rPr lang="en-US" b="1" dirty="0">
                <a:latin typeface="Segoe UI"/>
                <a:cs typeface="Segoe UI"/>
              </a:rPr>
              <a:t>Building recruitment channels</a:t>
            </a:r>
            <a:endParaRPr lang="en-US" dirty="0"/>
          </a:p>
          <a:p>
            <a:pPr lvl="1"/>
            <a:r>
              <a:rPr lang="en-US" dirty="0">
                <a:latin typeface="Segoe UI"/>
                <a:cs typeface="Segoe UI"/>
              </a:rPr>
              <a:t>University collaboration </a:t>
            </a:r>
            <a:r>
              <a:rPr lang="en-US" i="1" dirty="0">
                <a:latin typeface="Segoe UI"/>
                <a:cs typeface="Segoe UI"/>
              </a:rPr>
              <a:t>(Iceland, Malaysia, to some extent the U.S.)</a:t>
            </a:r>
          </a:p>
          <a:p>
            <a:pPr lvl="1"/>
            <a:r>
              <a:rPr lang="en-US" dirty="0">
                <a:latin typeface="Segoe UI"/>
                <a:cs typeface="Segoe UI"/>
              </a:rPr>
              <a:t>Future Leaders Program</a:t>
            </a:r>
          </a:p>
          <a:p>
            <a:pPr marL="457200" lvl="1" indent="0">
              <a:buNone/>
            </a:pPr>
            <a:endParaRPr lang="en-US" dirty="0"/>
          </a:p>
          <a:p>
            <a:pPr marL="0" indent="0">
              <a:buNone/>
            </a:pPr>
            <a:endParaRPr lang="is-IS" dirty="0"/>
          </a:p>
          <a:p>
            <a:pPr lvl="1"/>
            <a:endParaRPr lang="is-IS" dirty="0"/>
          </a:p>
          <a:p>
            <a:pPr lvl="1"/>
            <a:endParaRPr lang="en-US" dirty="0"/>
          </a:p>
        </p:txBody>
      </p:sp>
      <p:pic>
        <p:nvPicPr>
          <p:cNvPr id="6" name="Picture Placeholder 5" descr="Logo&#10;&#10;Description automatically generated">
            <a:extLst>
              <a:ext uri="{FF2B5EF4-FFF2-40B4-BE49-F238E27FC236}">
                <a16:creationId xmlns:a16="http://schemas.microsoft.com/office/drawing/2014/main" id="{ED6EC351-1440-1F51-0322-3E28A48B7488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167" r="13167"/>
          <a:stretch>
            <a:fillRect/>
          </a:stretch>
        </p:blipFill>
        <p:spPr>
          <a:xfrm>
            <a:off x="6711435" y="1561602"/>
            <a:ext cx="4626400" cy="4203181"/>
          </a:xfrm>
          <a:ln w="12700">
            <a:solidFill>
              <a:srgbClr val="F6C370"/>
            </a:solidFill>
          </a:ln>
        </p:spPr>
      </p:pic>
    </p:spTree>
    <p:extLst>
      <p:ext uri="{BB962C8B-B14F-4D97-AF65-F5344CB8AC3E}">
        <p14:creationId xmlns:p14="http://schemas.microsoft.com/office/powerpoint/2010/main" val="44425005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graphics, font, graphic design, logo&#10;&#10;Description automatically generated">
            <a:extLst>
              <a:ext uri="{FF2B5EF4-FFF2-40B4-BE49-F238E27FC236}">
                <a16:creationId xmlns:a16="http://schemas.microsoft.com/office/drawing/2014/main" id="{6CD5FD68-0951-19F3-A24B-81BD6C1C00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78880" y="2352183"/>
            <a:ext cx="4307265" cy="215363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DA796AAB-D4F6-84A3-3035-8E9DAE16BE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80175" y="1271136"/>
            <a:ext cx="2699445" cy="4315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352892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F850BA9-1659-0AAB-2621-B2E1FC3529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673" y="469582"/>
            <a:ext cx="11511418" cy="588637"/>
          </a:xfrm>
        </p:spPr>
        <p:txBody>
          <a:bodyPr>
            <a:normAutofit fontScale="90000"/>
          </a:bodyPr>
          <a:lstStyle/>
          <a:p>
            <a:pPr algn="ctr"/>
            <a:r>
              <a:rPr lang="is-IS" sz="3300">
                <a:solidFill>
                  <a:srgbClr val="8ED2E7"/>
                </a:solidFill>
              </a:rPr>
              <a:t>PHILIPPINES</a:t>
            </a:r>
            <a:br>
              <a:rPr lang="is-IS" sz="3300">
                <a:solidFill>
                  <a:srgbClr val="8ED2E7"/>
                </a:solidFill>
              </a:rPr>
            </a:br>
            <a:r>
              <a:rPr lang="is-IS" sz="3300">
                <a:solidFill>
                  <a:srgbClr val="8ED2E7"/>
                </a:solidFill>
              </a:rPr>
              <a:t>PERLAS NG SILANGANAN</a:t>
            </a:r>
            <a:br>
              <a:rPr lang="is-IS">
                <a:solidFill>
                  <a:srgbClr val="8ED2E7"/>
                </a:solidFill>
              </a:rPr>
            </a:br>
            <a:r>
              <a:rPr lang="is-IS" sz="2900">
                <a:solidFill>
                  <a:srgbClr val="8ED2E7"/>
                </a:solidFill>
              </a:rPr>
              <a:t>(Pearl of the Orient)</a:t>
            </a:r>
            <a:endParaRPr lang="en-US" sz="2900">
              <a:solidFill>
                <a:srgbClr val="8ED2E7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0D9AE7C2-57F2-D175-D2FA-3E3F05ABDB7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4511" y="2385993"/>
            <a:ext cx="4917509" cy="4355684"/>
          </a:xfrm>
        </p:spPr>
        <p:txBody>
          <a:bodyPr/>
          <a:lstStyle/>
          <a:p>
            <a:pPr marL="0" indent="0">
              <a:lnSpc>
                <a:spcPct val="100000"/>
              </a:lnSpc>
              <a:buNone/>
            </a:pPr>
            <a:r>
              <a:rPr lang="en-US" b="1"/>
              <a:t>110M Population</a:t>
            </a:r>
          </a:p>
        </p:txBody>
      </p:sp>
      <p:pic>
        <p:nvPicPr>
          <p:cNvPr id="11" name="Picture 10" descr="A picture containing map, screenshot, graphic design, graphics&#10;&#10;Description automatically generated">
            <a:extLst>
              <a:ext uri="{FF2B5EF4-FFF2-40B4-BE49-F238E27FC236}">
                <a16:creationId xmlns:a16="http://schemas.microsoft.com/office/drawing/2014/main" id="{3C40894B-32A4-D9D8-5050-C204644E1E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14650" y="1298122"/>
            <a:ext cx="7414873" cy="6086168"/>
          </a:xfrm>
          <a:prstGeom prst="rect">
            <a:avLst/>
          </a:prstGeom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CBF20D7-0CB9-1A38-6D54-EEC49B6E895A}"/>
              </a:ext>
            </a:extLst>
          </p:cNvPr>
          <p:cNvSpPr txBox="1">
            <a:spLocks/>
          </p:cNvSpPr>
          <p:nvPr/>
        </p:nvSpPr>
        <p:spPr>
          <a:xfrm>
            <a:off x="8402466" y="3673757"/>
            <a:ext cx="4917509" cy="435568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en-US" b="1"/>
              <a:t>Male/Female Ratio: </a:t>
            </a:r>
          </a:p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en-US" b="1"/>
              <a:t>50.1% / 49.9%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3DE22C5D-4E78-B16C-8C2F-40326EF30593}"/>
              </a:ext>
            </a:extLst>
          </p:cNvPr>
          <p:cNvSpPr txBox="1">
            <a:spLocks/>
          </p:cNvSpPr>
          <p:nvPr/>
        </p:nvSpPr>
        <p:spPr>
          <a:xfrm>
            <a:off x="389809" y="5263769"/>
            <a:ext cx="4917509" cy="435568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en-US" b="1"/>
              <a:t>Median age: 25 years</a:t>
            </a:r>
            <a:endParaRPr lang="en-PH" b="1"/>
          </a:p>
        </p:txBody>
      </p:sp>
    </p:spTree>
    <p:extLst>
      <p:ext uri="{BB962C8B-B14F-4D97-AF65-F5344CB8AC3E}">
        <p14:creationId xmlns:p14="http://schemas.microsoft.com/office/powerpoint/2010/main" val="177839024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blue and pink pie chart&#10;&#10;Description automatically generated with medium confidence">
            <a:extLst>
              <a:ext uri="{FF2B5EF4-FFF2-40B4-BE49-F238E27FC236}">
                <a16:creationId xmlns:a16="http://schemas.microsoft.com/office/drawing/2014/main" id="{04B0992F-6590-6D56-4F35-25D6338102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47267" y="3879410"/>
            <a:ext cx="2000250" cy="1800225"/>
          </a:xfrm>
          <a:prstGeom prst="rect">
            <a:avLst/>
          </a:prstGeom>
        </p:spPr>
      </p:pic>
      <p:pic>
        <p:nvPicPr>
          <p:cNvPr id="5" name="Picture 4" descr="A blue and pink pie chart&#10;&#10;Description automatically generated with medium confidence">
            <a:extLst>
              <a:ext uri="{FF2B5EF4-FFF2-40B4-BE49-F238E27FC236}">
                <a16:creationId xmlns:a16="http://schemas.microsoft.com/office/drawing/2014/main" id="{6D95317C-0F8B-EBD1-ED3E-1797D195BFD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05579" y="3862567"/>
            <a:ext cx="2305050" cy="1885950"/>
          </a:xfrm>
          <a:prstGeom prst="rect">
            <a:avLst/>
          </a:prstGeom>
        </p:spPr>
      </p:pic>
      <p:pic>
        <p:nvPicPr>
          <p:cNvPr id="13" name="Picture 12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A338CBA6-EDEF-4B6A-9FA6-C446115895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53369" y="405633"/>
            <a:ext cx="2439596" cy="979274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1CDFD013-985C-AA22-CFD4-DF91B6CDC025}"/>
              </a:ext>
            </a:extLst>
          </p:cNvPr>
          <p:cNvSpPr txBox="1">
            <a:spLocks/>
          </p:cNvSpPr>
          <p:nvPr/>
        </p:nvSpPr>
        <p:spPr>
          <a:xfrm>
            <a:off x="967737" y="526137"/>
            <a:ext cx="10256525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361D5C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is-IS" sz="3700">
                <a:solidFill>
                  <a:srgbClr val="003D8F"/>
                </a:solidFill>
              </a:rPr>
              <a:t>WHAT WE‘RE UP AGAINST</a:t>
            </a:r>
            <a:endParaRPr lang="en-US" sz="3600" b="0">
              <a:solidFill>
                <a:srgbClr val="003D8F"/>
              </a:solidFill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31A18F2-CA8B-BE2F-B627-B31E8ECD6D45}"/>
              </a:ext>
            </a:extLst>
          </p:cNvPr>
          <p:cNvSpPr txBox="1">
            <a:spLocks/>
          </p:cNvSpPr>
          <p:nvPr/>
        </p:nvSpPr>
        <p:spPr>
          <a:xfrm>
            <a:off x="1513491" y="5679635"/>
            <a:ext cx="2799591" cy="5000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323133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323133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323133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323133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323133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500" b="1">
                <a:solidFill>
                  <a:srgbClr val="5A647D"/>
                </a:solidFill>
              </a:rPr>
              <a:t>Philippines Labor Forc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DD5BD22-F782-9895-4168-29600EB8D795}"/>
              </a:ext>
            </a:extLst>
          </p:cNvPr>
          <p:cNvSpPr txBox="1">
            <a:spLocks/>
          </p:cNvSpPr>
          <p:nvPr/>
        </p:nvSpPr>
        <p:spPr>
          <a:xfrm>
            <a:off x="832834" y="3285939"/>
            <a:ext cx="4410099" cy="47365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323133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323133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323133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323133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323133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500" b="1">
                <a:solidFill>
                  <a:srgbClr val="5A647D"/>
                </a:solidFill>
              </a:rPr>
              <a:t>Female Representation on the Board</a:t>
            </a:r>
          </a:p>
        </p:txBody>
      </p:sp>
      <p:pic>
        <p:nvPicPr>
          <p:cNvPr id="3" name="Picture 2" descr="A blue and pink circle&#10;&#10;Description automatically generated with medium confidence">
            <a:extLst>
              <a:ext uri="{FF2B5EF4-FFF2-40B4-BE49-F238E27FC236}">
                <a16:creationId xmlns:a16="http://schemas.microsoft.com/office/drawing/2014/main" id="{40E802A5-8C31-2462-2318-E1B3DF0748C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08461" y="1361718"/>
            <a:ext cx="2828393" cy="1877974"/>
          </a:xfrm>
          <a:prstGeom prst="rect">
            <a:avLst/>
          </a:prstGeom>
        </p:spPr>
      </p:pic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6CB86372-4EC6-4A5A-FDD4-EAB0AE9F83D0}"/>
              </a:ext>
            </a:extLst>
          </p:cNvPr>
          <p:cNvSpPr txBox="1">
            <a:spLocks/>
          </p:cNvSpPr>
          <p:nvPr/>
        </p:nvSpPr>
        <p:spPr>
          <a:xfrm>
            <a:off x="8721808" y="5748517"/>
            <a:ext cx="4410099" cy="47365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323133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323133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323133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323133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323133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500" b="1">
                <a:solidFill>
                  <a:srgbClr val="5A647D"/>
                </a:solidFill>
              </a:rPr>
              <a:t>Women in the IT Industry</a:t>
            </a:r>
          </a:p>
        </p:txBody>
      </p:sp>
      <p:pic>
        <p:nvPicPr>
          <p:cNvPr id="6" name="Picture 5" descr="A blue and pink circle&#10;&#10;Description automatically generated with medium confidence">
            <a:extLst>
              <a:ext uri="{FF2B5EF4-FFF2-40B4-BE49-F238E27FC236}">
                <a16:creationId xmlns:a16="http://schemas.microsoft.com/office/drawing/2014/main" id="{DCDD5B8C-5827-5A99-44F6-369C59D9BE0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797129" y="1666225"/>
            <a:ext cx="2100527" cy="1476339"/>
          </a:xfrm>
          <a:prstGeom prst="rect">
            <a:avLst/>
          </a:prstGeom>
        </p:spPr>
      </p:pic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7E3605FB-595A-D619-DC7F-A00DFBC16143}"/>
              </a:ext>
            </a:extLst>
          </p:cNvPr>
          <p:cNvSpPr txBox="1">
            <a:spLocks/>
          </p:cNvSpPr>
          <p:nvPr/>
        </p:nvSpPr>
        <p:spPr>
          <a:xfrm>
            <a:off x="8797129" y="3268426"/>
            <a:ext cx="3972067" cy="42660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323133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323133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323133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323133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323133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500" b="1">
                <a:solidFill>
                  <a:srgbClr val="5A647D"/>
                </a:solidFill>
              </a:rPr>
              <a:t>University graduates</a:t>
            </a:r>
          </a:p>
        </p:txBody>
      </p:sp>
      <p:pic>
        <p:nvPicPr>
          <p:cNvPr id="12" name="Picture 11" descr="A map of the country&#10;&#10;Description automatically generated with low confidence">
            <a:extLst>
              <a:ext uri="{FF2B5EF4-FFF2-40B4-BE49-F238E27FC236}">
                <a16:creationId xmlns:a16="http://schemas.microsoft.com/office/drawing/2014/main" id="{F5F3B85D-C6FB-8AD7-DFBF-7254551E34F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59423" y="1315470"/>
            <a:ext cx="2862241" cy="4906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359991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A338CBA6-EDEF-4B6A-9FA6-C446115895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54818" y="5612063"/>
            <a:ext cx="2439596" cy="979274"/>
          </a:xfrm>
          <a:prstGeom prst="rect">
            <a:avLst/>
          </a:prstGeom>
        </p:spPr>
      </p:pic>
      <p:pic>
        <p:nvPicPr>
          <p:cNvPr id="14" name="Picture 13" descr="A picture containing symbol, graphics, clipart, font&#10;&#10;Description automatically generated">
            <a:extLst>
              <a:ext uri="{FF2B5EF4-FFF2-40B4-BE49-F238E27FC236}">
                <a16:creationId xmlns:a16="http://schemas.microsoft.com/office/drawing/2014/main" id="{428FF1E5-34BA-CA86-E541-2096AFEABC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31014" y="1654530"/>
            <a:ext cx="2822188" cy="4094737"/>
          </a:xfrm>
          <a:prstGeom prst="rect">
            <a:avLst/>
          </a:prstGeom>
        </p:spPr>
      </p:pic>
      <p:pic>
        <p:nvPicPr>
          <p:cNvPr id="20" name="Picture 19" descr="A picture containing graphics, graphic design, clipart, logo&#10;&#10;Description automatically generated">
            <a:extLst>
              <a:ext uri="{FF2B5EF4-FFF2-40B4-BE49-F238E27FC236}">
                <a16:creationId xmlns:a16="http://schemas.microsoft.com/office/drawing/2014/main" id="{D06981E5-FA06-7C63-1C9B-A3BDB989A3D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45000" y="1505910"/>
            <a:ext cx="6795407" cy="482154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D951DDF-4747-F328-1CDD-5C2747403099}"/>
              </a:ext>
            </a:extLst>
          </p:cNvPr>
          <p:cNvSpPr txBox="1">
            <a:spLocks/>
          </p:cNvSpPr>
          <p:nvPr/>
        </p:nvSpPr>
        <p:spPr>
          <a:xfrm>
            <a:off x="967737" y="596953"/>
            <a:ext cx="10256525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361D5C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is-IS" sz="3700">
                <a:solidFill>
                  <a:srgbClr val="003D8F"/>
                </a:solidFill>
              </a:rPr>
              <a:t>EMPOWERMENT</a:t>
            </a:r>
            <a:endParaRPr lang="en-US" sz="3600" b="0">
              <a:solidFill>
                <a:srgbClr val="003D8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644551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aphics, design, art&#10;&#10;Description automatically generated">
            <a:extLst>
              <a:ext uri="{FF2B5EF4-FFF2-40B4-BE49-F238E27FC236}">
                <a16:creationId xmlns:a16="http://schemas.microsoft.com/office/drawing/2014/main" id="{BAB5CD61-C603-85B5-1A0D-1E8617E261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79969" y="1551166"/>
            <a:ext cx="2438400" cy="4876800"/>
          </a:xfrm>
          <a:prstGeom prst="rect">
            <a:avLst/>
          </a:prstGeom>
        </p:spPr>
      </p:pic>
      <p:pic>
        <p:nvPicPr>
          <p:cNvPr id="12" name="Picture 11" descr="A picture containing art, illustration, design&#10;&#10;Description automatically generated with medium confidence">
            <a:extLst>
              <a:ext uri="{FF2B5EF4-FFF2-40B4-BE49-F238E27FC236}">
                <a16:creationId xmlns:a16="http://schemas.microsoft.com/office/drawing/2014/main" id="{4F645C01-D180-B79C-8CC4-60AB24722F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58510" y="1551166"/>
            <a:ext cx="2667000" cy="48768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EAEAEBE8-8957-5211-4D88-4C98AABE5266}"/>
              </a:ext>
            </a:extLst>
          </p:cNvPr>
          <p:cNvSpPr txBox="1"/>
          <p:nvPr/>
        </p:nvSpPr>
        <p:spPr>
          <a:xfrm>
            <a:off x="3443579" y="2938006"/>
            <a:ext cx="2438401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0" b="1">
                <a:solidFill>
                  <a:srgbClr val="F4848C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50</a:t>
            </a:r>
            <a:endParaRPr lang="en-PH" sz="15000" b="1">
              <a:solidFill>
                <a:srgbClr val="F4848C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304A324-7C09-D79E-F1B4-FFB68996E631}"/>
              </a:ext>
            </a:extLst>
          </p:cNvPr>
          <p:cNvSpPr txBox="1"/>
          <p:nvPr/>
        </p:nvSpPr>
        <p:spPr>
          <a:xfrm>
            <a:off x="5894899" y="2938006"/>
            <a:ext cx="2438401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0" b="1">
                <a:solidFill>
                  <a:srgbClr val="8ED2E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50</a:t>
            </a:r>
            <a:endParaRPr lang="en-PH" sz="15000" b="1">
              <a:solidFill>
                <a:srgbClr val="8ED2E7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187D640-DB06-088B-63F6-1E5F7099A28C}"/>
              </a:ext>
            </a:extLst>
          </p:cNvPr>
          <p:cNvSpPr txBox="1">
            <a:spLocks/>
          </p:cNvSpPr>
          <p:nvPr/>
        </p:nvSpPr>
        <p:spPr>
          <a:xfrm>
            <a:off x="967737" y="596953"/>
            <a:ext cx="10256525" cy="5886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361D5C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is-IS" sz="3700">
                <a:solidFill>
                  <a:schemeClr val="bg1"/>
                </a:solidFill>
              </a:rPr>
              <a:t>OUR ACHIEVEMENT</a:t>
            </a:r>
            <a:endParaRPr lang="en-US" sz="3600" b="0">
              <a:solidFill>
                <a:schemeClr val="bg1"/>
              </a:solidFill>
            </a:endParaRPr>
          </a:p>
        </p:txBody>
      </p:sp>
      <p:pic>
        <p:nvPicPr>
          <p:cNvPr id="7" name="Picture 6" descr="A picture containing text, graphics, graphic design, font&#10;&#10;Description automatically generated">
            <a:extLst>
              <a:ext uri="{FF2B5EF4-FFF2-40B4-BE49-F238E27FC236}">
                <a16:creationId xmlns:a16="http://schemas.microsoft.com/office/drawing/2014/main" id="{1D3856A9-164D-2C31-C505-68D4A8C1B50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722733" y="5769868"/>
            <a:ext cx="2066082" cy="499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26191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Why LS Retail supports DEI initiatives like Women in Dynamics">
            <a:extLst>
              <a:ext uri="{FF2B5EF4-FFF2-40B4-BE49-F238E27FC236}">
                <a16:creationId xmlns:a16="http://schemas.microsoft.com/office/drawing/2014/main" id="{20596F41-A9C0-C786-D271-1BAA9AB2EF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0620" y="813890"/>
            <a:ext cx="5959928" cy="3131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3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9CA169C9-672D-06C0-9F26-E365E3BDC69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2206"/>
          <a:stretch/>
        </p:blipFill>
        <p:spPr bwMode="auto">
          <a:xfrm>
            <a:off x="1365477" y="4062792"/>
            <a:ext cx="8790214" cy="1202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 descr="Graphical user interface">
            <a:extLst>
              <a:ext uri="{FF2B5EF4-FFF2-40B4-BE49-F238E27FC236}">
                <a16:creationId xmlns:a16="http://schemas.microsoft.com/office/drawing/2014/main" id="{D8398C30-EBB2-367B-A0BB-25C9603EBEC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206"/>
          <a:stretch/>
        </p:blipFill>
        <p:spPr bwMode="auto">
          <a:xfrm>
            <a:off x="2658340" y="5478602"/>
            <a:ext cx="8790214" cy="1202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0EA866C5-0D40-5CF1-01D2-D2046EBADF9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87507" y="5532694"/>
            <a:ext cx="2062769" cy="828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496957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92F4F647-E16A-D8A1-368A-DD7740081A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292" y="488601"/>
            <a:ext cx="11511418" cy="588637"/>
          </a:xfrm>
        </p:spPr>
        <p:txBody>
          <a:bodyPr>
            <a:normAutofit fontScale="90000"/>
          </a:bodyPr>
          <a:lstStyle/>
          <a:p>
            <a:r>
              <a:rPr lang="en-US"/>
              <a:t>Diversity makes business sense</a:t>
            </a:r>
            <a:endParaRPr lang="en-PH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E670BAE-41BD-3024-59F0-3CE7ED03AD80}"/>
              </a:ext>
            </a:extLst>
          </p:cNvPr>
          <p:cNvSpPr txBox="1">
            <a:spLocks/>
          </p:cNvSpPr>
          <p:nvPr/>
        </p:nvSpPr>
        <p:spPr>
          <a:xfrm>
            <a:off x="624792" y="1928508"/>
            <a:ext cx="4917509" cy="435568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323133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323133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323133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323133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323133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>
                <a:solidFill>
                  <a:srgbClr val="5A647D"/>
                </a:solidFill>
              </a:rPr>
              <a:t>Recruitment</a:t>
            </a:r>
          </a:p>
          <a:p>
            <a:r>
              <a:rPr lang="en-US" b="1">
                <a:solidFill>
                  <a:srgbClr val="5A647D"/>
                </a:solidFill>
              </a:rPr>
              <a:t>Retention</a:t>
            </a:r>
          </a:p>
          <a:p>
            <a:r>
              <a:rPr lang="en-US" b="1">
                <a:solidFill>
                  <a:srgbClr val="5A647D"/>
                </a:solidFill>
              </a:rPr>
              <a:t>Branding</a:t>
            </a:r>
          </a:p>
          <a:p>
            <a:r>
              <a:rPr lang="en-US" b="1">
                <a:solidFill>
                  <a:srgbClr val="5A647D"/>
                </a:solidFill>
              </a:rPr>
              <a:t>Delivery</a:t>
            </a:r>
          </a:p>
        </p:txBody>
      </p:sp>
      <p:pic>
        <p:nvPicPr>
          <p:cNvPr id="13" name="Picture 12" descr="A group of people hugging each other&#10;&#10;Description automatically generated with medium confidence">
            <a:extLst>
              <a:ext uri="{FF2B5EF4-FFF2-40B4-BE49-F238E27FC236}">
                <a16:creationId xmlns:a16="http://schemas.microsoft.com/office/drawing/2014/main" id="{BABAEBC7-34BB-3929-3C11-CC4E0745E9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59278" y="748720"/>
            <a:ext cx="9032722" cy="6021815"/>
          </a:xfrm>
          <a:prstGeom prst="rect">
            <a:avLst/>
          </a:prstGeom>
        </p:spPr>
      </p:pic>
      <p:pic>
        <p:nvPicPr>
          <p:cNvPr id="2" name="Picture 1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47CB9112-E59E-9B70-3224-5A13EF3673E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54818" y="5612063"/>
            <a:ext cx="2439596" cy="979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553887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99F0BED-CD10-1C18-F86A-98ED4C3F48C3}"/>
              </a:ext>
            </a:extLst>
          </p:cNvPr>
          <p:cNvSpPr txBox="1"/>
          <p:nvPr/>
        </p:nvSpPr>
        <p:spPr>
          <a:xfrm>
            <a:off x="373712" y="1402626"/>
            <a:ext cx="8207440" cy="49090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PH" sz="30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“</a:t>
            </a:r>
            <a:r>
              <a:rPr lang="en-PH" sz="2100" i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e strength of Retail Associates lies in the diversity of its workforce.</a:t>
            </a:r>
          </a:p>
          <a:p>
            <a:endParaRPr lang="en-PH" sz="2100" i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en-PH" sz="2100" i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e have built a culture that promote and encourage </a:t>
            </a:r>
            <a:r>
              <a:rPr lang="en-PH" sz="2100" b="1" i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xpertise</a:t>
            </a:r>
            <a:r>
              <a:rPr lang="en-PH" sz="2100" i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</a:p>
          <a:p>
            <a:r>
              <a:rPr lang="en-PH" sz="2100" i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xperiences and perspectives that both genders bring to the table.</a:t>
            </a:r>
          </a:p>
          <a:p>
            <a:endParaRPr lang="en-PH" sz="2100" i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en-PH" sz="2100" i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viding equal opportunities based on merit, not</a:t>
            </a:r>
          </a:p>
          <a:p>
            <a:r>
              <a:rPr lang="en-PH" sz="2100" i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ender, is part of our </a:t>
            </a:r>
            <a:r>
              <a:rPr lang="en-PH" sz="2100" b="1" i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thical</a:t>
            </a:r>
            <a:r>
              <a:rPr lang="en-PH" sz="2100" i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values.</a:t>
            </a:r>
          </a:p>
          <a:p>
            <a:endParaRPr lang="en-PH" sz="2100" i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en-PH" sz="2100" i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 an environment that allows them to, it is surprising to </a:t>
            </a:r>
          </a:p>
          <a:p>
            <a:r>
              <a:rPr lang="en-PH" sz="2100" i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e women striving and achieving of </a:t>
            </a:r>
            <a:r>
              <a:rPr lang="en-PH" sz="2100" b="1" i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xcellence</a:t>
            </a:r>
            <a:r>
              <a:rPr lang="en-PH" sz="2100" i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This is </a:t>
            </a:r>
          </a:p>
          <a:p>
            <a:r>
              <a:rPr lang="en-PH" sz="2100" i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ow </a:t>
            </a:r>
            <a:r>
              <a:rPr lang="en-PH" sz="2100" b="1" i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mpowerment</a:t>
            </a:r>
            <a:r>
              <a:rPr lang="en-PH" sz="2100" i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of women is achieved!</a:t>
            </a:r>
            <a:r>
              <a:rPr lang="en-PH" sz="30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”</a:t>
            </a:r>
          </a:p>
          <a:p>
            <a:endParaRPr lang="en-PH" sz="20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en-PH" sz="27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VY GEMMA BUMANGLAG</a:t>
            </a:r>
          </a:p>
          <a:p>
            <a:r>
              <a:rPr lang="en-PH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HIEF OPERATING OFFICER</a:t>
            </a:r>
          </a:p>
        </p:txBody>
      </p:sp>
      <p:pic>
        <p:nvPicPr>
          <p:cNvPr id="4" name="Picture 3" descr="A picture containing person, human face, clothing, person&#10;&#10;Description automatically generated">
            <a:extLst>
              <a:ext uri="{FF2B5EF4-FFF2-40B4-BE49-F238E27FC236}">
                <a16:creationId xmlns:a16="http://schemas.microsoft.com/office/drawing/2014/main" id="{A5B711E2-2155-664B-9CF9-78F3F61E3B6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10426" b="4226"/>
          <a:stretch/>
        </p:blipFill>
        <p:spPr>
          <a:xfrm>
            <a:off x="7335235" y="381205"/>
            <a:ext cx="4856766" cy="6476796"/>
          </a:xfrm>
          <a:prstGeom prst="rect">
            <a:avLst/>
          </a:prstGeom>
        </p:spPr>
      </p:pic>
      <p:pic>
        <p:nvPicPr>
          <p:cNvPr id="5" name="Picture 4" descr="A picture containing font, graphics, graphic design, screenshot&#10;&#10;Description automatically generated">
            <a:extLst>
              <a:ext uri="{FF2B5EF4-FFF2-40B4-BE49-F238E27FC236}">
                <a16:creationId xmlns:a16="http://schemas.microsoft.com/office/drawing/2014/main" id="{C8D0F7A1-93D2-7DFB-7166-70FC89BA879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7113" y="546338"/>
            <a:ext cx="3063327" cy="733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116597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5BA41BAA-42A6-9B7E-0AC2-BBF9E56C9A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54818" y="5612063"/>
            <a:ext cx="2439596" cy="979274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4CB6CF3B-1769-3975-E299-EF580AFA07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3102" y="664066"/>
            <a:ext cx="11511418" cy="588637"/>
          </a:xfrm>
        </p:spPr>
        <p:txBody>
          <a:bodyPr>
            <a:normAutofit fontScale="90000"/>
          </a:bodyPr>
          <a:lstStyle/>
          <a:p>
            <a:pPr algn="ctr"/>
            <a:r>
              <a:rPr lang="en-PH"/>
              <a:t>THE REALITY </a:t>
            </a:r>
          </a:p>
        </p:txBody>
      </p:sp>
      <p:pic>
        <p:nvPicPr>
          <p:cNvPr id="4" name="Picture 3" descr="A person holding a baby and talking on a cell phone&#10;&#10;Description automatically generated with medium confidence">
            <a:extLst>
              <a:ext uri="{FF2B5EF4-FFF2-40B4-BE49-F238E27FC236}">
                <a16:creationId xmlns:a16="http://schemas.microsoft.com/office/drawing/2014/main" id="{B56CB41D-85A5-78C5-D431-B222792C5EC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72498" y="942582"/>
            <a:ext cx="5247004" cy="5427285"/>
          </a:xfrm>
          <a:prstGeom prst="rect">
            <a:avLst/>
          </a:prstGeom>
        </p:spPr>
      </p:pic>
      <p:pic>
        <p:nvPicPr>
          <p:cNvPr id="9" name="Picture 8" descr="A blue and red baby carriage&#10;&#10;Description automatically generated with low confidence">
            <a:extLst>
              <a:ext uri="{FF2B5EF4-FFF2-40B4-BE49-F238E27FC236}">
                <a16:creationId xmlns:a16="http://schemas.microsoft.com/office/drawing/2014/main" id="{75BB5609-919D-4B44-D261-79B6A66CC82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92800" y="601037"/>
            <a:ext cx="2505588" cy="1970652"/>
          </a:xfrm>
          <a:prstGeom prst="rect">
            <a:avLst/>
          </a:prstGeom>
        </p:spPr>
      </p:pic>
      <p:pic>
        <p:nvPicPr>
          <p:cNvPr id="11" name="Picture 10" descr="A person with fruits on her head&#10;&#10;Description automatically generated with low confidence">
            <a:extLst>
              <a:ext uri="{FF2B5EF4-FFF2-40B4-BE49-F238E27FC236}">
                <a16:creationId xmlns:a16="http://schemas.microsoft.com/office/drawing/2014/main" id="{BD5653A6-F271-DD77-AC7E-D336675E4F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82628" y="2206880"/>
            <a:ext cx="2240333" cy="1747520"/>
          </a:xfrm>
          <a:prstGeom prst="rect">
            <a:avLst/>
          </a:prstGeom>
        </p:spPr>
      </p:pic>
      <p:pic>
        <p:nvPicPr>
          <p:cNvPr id="13" name="Picture 12" descr="A hand holding a spray bottle&#10;&#10;Description automatically generated with low confidence">
            <a:extLst>
              <a:ext uri="{FF2B5EF4-FFF2-40B4-BE49-F238E27FC236}">
                <a16:creationId xmlns:a16="http://schemas.microsoft.com/office/drawing/2014/main" id="{94F97C5D-92F8-94E9-595D-EA7F662D8B4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31573" y="3214644"/>
            <a:ext cx="2505587" cy="1947489"/>
          </a:xfrm>
          <a:prstGeom prst="rect">
            <a:avLst/>
          </a:prstGeom>
        </p:spPr>
      </p:pic>
      <p:pic>
        <p:nvPicPr>
          <p:cNvPr id="15" name="Picture 14" descr="A cartoon of a bag of fruit and a pear&#10;&#10;Description automatically generated with low confidence">
            <a:extLst>
              <a:ext uri="{FF2B5EF4-FFF2-40B4-BE49-F238E27FC236}">
                <a16:creationId xmlns:a16="http://schemas.microsoft.com/office/drawing/2014/main" id="{94118BD0-6657-FD7A-5064-38E41BFF4F4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92799" y="5051370"/>
            <a:ext cx="2326703" cy="1429260"/>
          </a:xfrm>
          <a:prstGeom prst="rect">
            <a:avLst/>
          </a:prstGeom>
        </p:spPr>
      </p:pic>
      <p:pic>
        <p:nvPicPr>
          <p:cNvPr id="17" name="Picture 16" descr="A clipboard and pen&#10;&#10;Description automatically generated with medium confidence">
            <a:extLst>
              <a:ext uri="{FF2B5EF4-FFF2-40B4-BE49-F238E27FC236}">
                <a16:creationId xmlns:a16="http://schemas.microsoft.com/office/drawing/2014/main" id="{64E961CB-964B-D5BF-6FC2-A5E187D4452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16638" y="1232137"/>
            <a:ext cx="2240333" cy="1564677"/>
          </a:xfrm>
          <a:prstGeom prst="rect">
            <a:avLst/>
          </a:prstGeom>
        </p:spPr>
      </p:pic>
      <p:pic>
        <p:nvPicPr>
          <p:cNvPr id="19" name="Picture 18" descr="A screen 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02DBC4DD-C6C2-4B07-71BD-C86E656F28F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747367" y="1949752"/>
            <a:ext cx="1662006" cy="2177908"/>
          </a:xfrm>
          <a:prstGeom prst="rect">
            <a:avLst/>
          </a:prstGeom>
        </p:spPr>
      </p:pic>
      <p:pic>
        <p:nvPicPr>
          <p:cNvPr id="21" name="Picture 20" descr="A person pointing at a graph&#10;&#10;Description automatically generated with low confidence">
            <a:extLst>
              <a:ext uri="{FF2B5EF4-FFF2-40B4-BE49-F238E27FC236}">
                <a16:creationId xmlns:a16="http://schemas.microsoft.com/office/drawing/2014/main" id="{8E85CC07-1988-A104-5182-0401F9F7CEB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388584" y="3779227"/>
            <a:ext cx="2240334" cy="1631945"/>
          </a:xfrm>
          <a:prstGeom prst="rect">
            <a:avLst/>
          </a:prstGeom>
        </p:spPr>
      </p:pic>
      <p:pic>
        <p:nvPicPr>
          <p:cNvPr id="23" name="Picture 22" descr="A picture containing moon, circle, screenshot, graphics&#10;&#10;Description automatically generated">
            <a:extLst>
              <a:ext uri="{FF2B5EF4-FFF2-40B4-BE49-F238E27FC236}">
                <a16:creationId xmlns:a16="http://schemas.microsoft.com/office/drawing/2014/main" id="{644F21CE-6E6A-818C-032C-C0D024B7DC2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539184" y="4533141"/>
            <a:ext cx="2507392" cy="1947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11074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6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clothing, person, screenshot, person&#10;&#10;Description automatically generated">
            <a:extLst>
              <a:ext uri="{FF2B5EF4-FFF2-40B4-BE49-F238E27FC236}">
                <a16:creationId xmlns:a16="http://schemas.microsoft.com/office/drawing/2014/main" id="{2ED0CE3A-4DB4-6016-E3D4-35159B7555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15922" y="266663"/>
            <a:ext cx="5173387" cy="6407406"/>
          </a:xfrm>
          <a:prstGeom prst="rect">
            <a:avLst/>
          </a:prstGeom>
        </p:spPr>
      </p:pic>
      <p:pic>
        <p:nvPicPr>
          <p:cNvPr id="8" name="Picture 7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4A2238C7-0A6F-36C0-830D-AB14E97CDC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83310" y="6185471"/>
            <a:ext cx="1011103" cy="40586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B853F07-6E8B-D80D-076A-F2FB8C3F25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873760" y="604211"/>
            <a:ext cx="10756540" cy="588637"/>
          </a:xfrm>
        </p:spPr>
        <p:txBody>
          <a:bodyPr>
            <a:normAutofit fontScale="90000"/>
          </a:bodyPr>
          <a:lstStyle/>
          <a:p>
            <a:pPr algn="ctr"/>
            <a:r>
              <a:rPr lang="en-PH"/>
              <a:t>OUR DELIBERATE STRATEGI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A8B0D53-5CB8-CB47-54E9-7A611D48A5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4792" y="1928508"/>
            <a:ext cx="4917509" cy="4355684"/>
          </a:xfrm>
        </p:spPr>
        <p:txBody>
          <a:bodyPr/>
          <a:lstStyle/>
          <a:p>
            <a:r>
              <a:rPr lang="en-US" b="1">
                <a:solidFill>
                  <a:srgbClr val="5A647D"/>
                </a:solidFill>
              </a:rPr>
              <a:t>Recruitment and Compensation Package Policies</a:t>
            </a:r>
          </a:p>
          <a:p>
            <a:r>
              <a:rPr lang="en-US" b="1">
                <a:solidFill>
                  <a:srgbClr val="5A647D"/>
                </a:solidFill>
              </a:rPr>
              <a:t>Company Events and Activities</a:t>
            </a:r>
          </a:p>
          <a:p>
            <a:r>
              <a:rPr lang="en-US" b="1">
                <a:solidFill>
                  <a:srgbClr val="5A647D"/>
                </a:solidFill>
              </a:rPr>
              <a:t>Established a conducive</a:t>
            </a:r>
            <a:r>
              <a:rPr lang="en-PH" b="1">
                <a:solidFill>
                  <a:srgbClr val="5A647D"/>
                </a:solidFill>
              </a:rPr>
              <a:t> work environment</a:t>
            </a:r>
            <a:endParaRPr lang="en-US" b="1">
              <a:solidFill>
                <a:srgbClr val="5A64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616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581FBC-3E50-7246-4D6F-6C6DA4809B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292" y="488601"/>
            <a:ext cx="11511418" cy="588637"/>
          </a:xfrm>
        </p:spPr>
        <p:txBody>
          <a:bodyPr>
            <a:normAutofit fontScale="90000"/>
          </a:bodyPr>
          <a:lstStyle/>
          <a:p>
            <a:r>
              <a:rPr lang="en-PH"/>
              <a:t>A conducive environment for women</a:t>
            </a:r>
          </a:p>
        </p:txBody>
      </p:sp>
      <p:pic>
        <p:nvPicPr>
          <p:cNvPr id="11" name="Picture 10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112C4163-92C4-CA08-88D4-11C7490A9D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03280" y="6235610"/>
            <a:ext cx="991134" cy="397849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52A372E9-3526-E676-FC04-C810108DB74D}"/>
              </a:ext>
            </a:extLst>
          </p:cNvPr>
          <p:cNvGrpSpPr/>
          <p:nvPr/>
        </p:nvGrpSpPr>
        <p:grpSpPr>
          <a:xfrm>
            <a:off x="2077419" y="1097348"/>
            <a:ext cx="5918859" cy="2806551"/>
            <a:chOff x="2077419" y="1097348"/>
            <a:chExt cx="5918859" cy="2806551"/>
          </a:xfrm>
        </p:grpSpPr>
        <p:pic>
          <p:nvPicPr>
            <p:cNvPr id="6" name="Picture 5" descr="A person and a child cooking&#10;&#10;Description automatically generated with low confidence">
              <a:extLst>
                <a:ext uri="{FF2B5EF4-FFF2-40B4-BE49-F238E27FC236}">
                  <a16:creationId xmlns:a16="http://schemas.microsoft.com/office/drawing/2014/main" id="{12951CEE-4CC2-FB35-1F7A-845EE6E11E9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077419" y="1097348"/>
              <a:ext cx="4378219" cy="2462748"/>
            </a:xfrm>
            <a:prstGeom prst="rect">
              <a:avLst/>
            </a:prstGeom>
          </p:spPr>
        </p:pic>
        <p:sp>
          <p:nvSpPr>
            <p:cNvPr id="3" name="Text Placeholder 2">
              <a:extLst>
                <a:ext uri="{FF2B5EF4-FFF2-40B4-BE49-F238E27FC236}">
                  <a16:creationId xmlns:a16="http://schemas.microsoft.com/office/drawing/2014/main" id="{D25FA5D5-7E37-F618-044D-551A59D5BD4E}"/>
                </a:ext>
              </a:extLst>
            </p:cNvPr>
            <p:cNvSpPr txBox="1">
              <a:spLocks/>
            </p:cNvSpPr>
            <p:nvPr/>
          </p:nvSpPr>
          <p:spPr>
            <a:xfrm>
              <a:off x="3586179" y="3430248"/>
              <a:ext cx="4410099" cy="473651"/>
            </a:xfrm>
            <a:prstGeom prst="rect">
              <a:avLst/>
            </a:prstGeom>
          </p:spPr>
          <p:txBody>
            <a:bodyPr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rgbClr val="323133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rgbClr val="323133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rgbClr val="323133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rgbClr val="323133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rgbClr val="323133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2000" b="1">
                  <a:solidFill>
                    <a:srgbClr val="5A647D"/>
                  </a:solidFill>
                </a:rPr>
                <a:t>Mom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5229BC7-AFFC-384D-D4B2-1C298D1B05FC}"/>
              </a:ext>
            </a:extLst>
          </p:cNvPr>
          <p:cNvGrpSpPr/>
          <p:nvPr/>
        </p:nvGrpSpPr>
        <p:grpSpPr>
          <a:xfrm>
            <a:off x="7006139" y="1118781"/>
            <a:ext cx="7390910" cy="2965141"/>
            <a:chOff x="7006139" y="1118781"/>
            <a:chExt cx="7390910" cy="2965141"/>
          </a:xfrm>
        </p:grpSpPr>
        <p:pic>
          <p:nvPicPr>
            <p:cNvPr id="8" name="Picture 7" descr="A person and person holding a present&#10;&#10;Description automatically generated with low confidence">
              <a:extLst>
                <a:ext uri="{FF2B5EF4-FFF2-40B4-BE49-F238E27FC236}">
                  <a16:creationId xmlns:a16="http://schemas.microsoft.com/office/drawing/2014/main" id="{ED241166-A74B-8B14-8132-ACE7900F5E6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006139" y="1118781"/>
              <a:ext cx="4997798" cy="2811262"/>
            </a:xfrm>
            <a:prstGeom prst="rect">
              <a:avLst/>
            </a:prstGeom>
          </p:spPr>
        </p:pic>
        <p:sp>
          <p:nvSpPr>
            <p:cNvPr id="7" name="Text Placeholder 2">
              <a:extLst>
                <a:ext uri="{FF2B5EF4-FFF2-40B4-BE49-F238E27FC236}">
                  <a16:creationId xmlns:a16="http://schemas.microsoft.com/office/drawing/2014/main" id="{D98F6109-DF82-7859-1F6E-C23FB8FB5D53}"/>
                </a:ext>
              </a:extLst>
            </p:cNvPr>
            <p:cNvSpPr txBox="1">
              <a:spLocks/>
            </p:cNvSpPr>
            <p:nvPr/>
          </p:nvSpPr>
          <p:spPr>
            <a:xfrm>
              <a:off x="9986950" y="3610271"/>
              <a:ext cx="4410099" cy="473651"/>
            </a:xfrm>
            <a:prstGeom prst="rect">
              <a:avLst/>
            </a:prstGeom>
          </p:spPr>
          <p:txBody>
            <a:bodyPr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rgbClr val="323133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rgbClr val="323133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rgbClr val="323133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rgbClr val="323133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rgbClr val="323133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2000" b="1">
                  <a:solidFill>
                    <a:srgbClr val="5A647D"/>
                  </a:solidFill>
                </a:rPr>
                <a:t>Wife/Partner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BE4679F-34C4-019E-67FD-4524BB6EA41B}"/>
              </a:ext>
            </a:extLst>
          </p:cNvPr>
          <p:cNvGrpSpPr/>
          <p:nvPr/>
        </p:nvGrpSpPr>
        <p:grpSpPr>
          <a:xfrm>
            <a:off x="0" y="3422297"/>
            <a:ext cx="6090519" cy="3183927"/>
            <a:chOff x="0" y="3422297"/>
            <a:chExt cx="6090519" cy="3183927"/>
          </a:xfrm>
        </p:grpSpPr>
        <p:pic>
          <p:nvPicPr>
            <p:cNvPr id="13" name="Picture 12" descr="A cartoon of a person using a computer&#10;&#10;Description automatically generated with medium confidence">
              <a:extLst>
                <a:ext uri="{FF2B5EF4-FFF2-40B4-BE49-F238E27FC236}">
                  <a16:creationId xmlns:a16="http://schemas.microsoft.com/office/drawing/2014/main" id="{E9EA1319-C4D9-33C1-4B00-8F74145ABEE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0" y="3422297"/>
              <a:ext cx="4413767" cy="2482744"/>
            </a:xfrm>
            <a:prstGeom prst="rect">
              <a:avLst/>
            </a:prstGeom>
          </p:spPr>
        </p:pic>
        <p:sp>
          <p:nvSpPr>
            <p:cNvPr id="9" name="Text Placeholder 2">
              <a:extLst>
                <a:ext uri="{FF2B5EF4-FFF2-40B4-BE49-F238E27FC236}">
                  <a16:creationId xmlns:a16="http://schemas.microsoft.com/office/drawing/2014/main" id="{171578C0-2150-76CC-95C8-A32C4BBE6966}"/>
                </a:ext>
              </a:extLst>
            </p:cNvPr>
            <p:cNvSpPr txBox="1">
              <a:spLocks/>
            </p:cNvSpPr>
            <p:nvPr/>
          </p:nvSpPr>
          <p:spPr>
            <a:xfrm>
              <a:off x="1680420" y="6132573"/>
              <a:ext cx="4410099" cy="473651"/>
            </a:xfrm>
            <a:prstGeom prst="rect">
              <a:avLst/>
            </a:prstGeom>
          </p:spPr>
          <p:txBody>
            <a:bodyPr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rgbClr val="323133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rgbClr val="323133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rgbClr val="323133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rgbClr val="323133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rgbClr val="323133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2000" b="1">
                  <a:solidFill>
                    <a:srgbClr val="5A647D"/>
                  </a:solidFill>
                </a:rPr>
                <a:t>Leader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CEDA6A8-6A99-0AA3-8968-78C76F461A18}"/>
              </a:ext>
            </a:extLst>
          </p:cNvPr>
          <p:cNvGrpSpPr/>
          <p:nvPr/>
        </p:nvGrpSpPr>
        <p:grpSpPr>
          <a:xfrm>
            <a:off x="4900712" y="3568363"/>
            <a:ext cx="6762990" cy="3048087"/>
            <a:chOff x="4900712" y="3568363"/>
            <a:chExt cx="6762990" cy="3048087"/>
          </a:xfrm>
        </p:grpSpPr>
        <p:pic>
          <p:nvPicPr>
            <p:cNvPr id="10" name="Picture 9" descr="A person sitting in a lotus position&#10;&#10;Description automatically generated with low confidence">
              <a:extLst>
                <a:ext uri="{FF2B5EF4-FFF2-40B4-BE49-F238E27FC236}">
                  <a16:creationId xmlns:a16="http://schemas.microsoft.com/office/drawing/2014/main" id="{67D542A8-F9E7-E90D-9A91-E58BEEA3469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900712" y="3568363"/>
              <a:ext cx="4705783" cy="2647003"/>
            </a:xfrm>
            <a:prstGeom prst="rect">
              <a:avLst/>
            </a:prstGeom>
          </p:spPr>
        </p:pic>
        <p:sp>
          <p:nvSpPr>
            <p:cNvPr id="12" name="Text Placeholder 2">
              <a:extLst>
                <a:ext uri="{FF2B5EF4-FFF2-40B4-BE49-F238E27FC236}">
                  <a16:creationId xmlns:a16="http://schemas.microsoft.com/office/drawing/2014/main" id="{BE7CF915-87B1-9BFE-2F43-0C3359A693F0}"/>
                </a:ext>
              </a:extLst>
            </p:cNvPr>
            <p:cNvSpPr txBox="1">
              <a:spLocks/>
            </p:cNvSpPr>
            <p:nvPr/>
          </p:nvSpPr>
          <p:spPr>
            <a:xfrm>
              <a:off x="7253603" y="6142799"/>
              <a:ext cx="4410099" cy="473651"/>
            </a:xfrm>
            <a:prstGeom prst="rect">
              <a:avLst/>
            </a:prstGeom>
          </p:spPr>
          <p:txBody>
            <a:bodyPr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rgbClr val="323133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rgbClr val="323133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rgbClr val="323133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rgbClr val="323133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rgbClr val="323133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2000" b="1">
                  <a:solidFill>
                    <a:srgbClr val="5A647D"/>
                  </a:solidFill>
                </a:rPr>
                <a:t>M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093583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4A2238C7-0A6F-36C0-830D-AB14E97CDC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38080" y="5806047"/>
            <a:ext cx="1956334" cy="785289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90BF0AE6-BA37-5A0F-FB5B-B4384E4C8C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3738" y="568211"/>
            <a:ext cx="10756540" cy="588637"/>
          </a:xfrm>
        </p:spPr>
        <p:txBody>
          <a:bodyPr>
            <a:normAutofit fontScale="90000"/>
          </a:bodyPr>
          <a:lstStyle/>
          <a:p>
            <a:pPr algn="ctr"/>
            <a:r>
              <a:rPr lang="en-PH"/>
              <a:t>OUR DYNAMIC FEMALE LEADERS</a:t>
            </a:r>
          </a:p>
        </p:txBody>
      </p:sp>
      <p:pic>
        <p:nvPicPr>
          <p:cNvPr id="6" name="Picture 5" descr="A picture containing human face, clothing, smile, person&#10;&#10;Description automatically generated">
            <a:extLst>
              <a:ext uri="{FF2B5EF4-FFF2-40B4-BE49-F238E27FC236}">
                <a16:creationId xmlns:a16="http://schemas.microsoft.com/office/drawing/2014/main" id="{F82D588A-74A9-1400-5F17-74CC786835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7911" y="1258373"/>
            <a:ext cx="5464097" cy="5464097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0E3D348-F206-9578-ACB4-855969733D0E}"/>
              </a:ext>
            </a:extLst>
          </p:cNvPr>
          <p:cNvSpPr txBox="1">
            <a:spLocks/>
          </p:cNvSpPr>
          <p:nvPr/>
        </p:nvSpPr>
        <p:spPr>
          <a:xfrm>
            <a:off x="7213573" y="3228003"/>
            <a:ext cx="4661918" cy="90383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323133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323133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323133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323133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323133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>
                <a:solidFill>
                  <a:srgbClr val="5A647D"/>
                </a:solidFill>
              </a:rPr>
              <a:t>Andry-Rose </a:t>
            </a:r>
            <a:r>
              <a:rPr lang="en-US" b="1" err="1">
                <a:solidFill>
                  <a:srgbClr val="5A647D"/>
                </a:solidFill>
              </a:rPr>
              <a:t>Tonog</a:t>
            </a:r>
            <a:endParaRPr lang="en-US" b="1">
              <a:solidFill>
                <a:srgbClr val="5A647D"/>
              </a:solidFill>
            </a:endParaRPr>
          </a:p>
          <a:p>
            <a:pPr marL="0" indent="0">
              <a:buNone/>
            </a:pPr>
            <a:r>
              <a:rPr lang="en-US" sz="2200">
                <a:solidFill>
                  <a:srgbClr val="5A647D"/>
                </a:solidFill>
              </a:rPr>
              <a:t>Project Manager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E0A8B66-3883-1239-5E85-5C99B118D3DA}"/>
              </a:ext>
            </a:extLst>
          </p:cNvPr>
          <p:cNvSpPr txBox="1">
            <a:spLocks/>
          </p:cNvSpPr>
          <p:nvPr/>
        </p:nvSpPr>
        <p:spPr>
          <a:xfrm>
            <a:off x="7213574" y="4658620"/>
            <a:ext cx="4661919" cy="48642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323133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323133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323133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323133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323133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err="1">
                <a:solidFill>
                  <a:srgbClr val="5A647D"/>
                </a:solidFill>
              </a:rPr>
              <a:t>Happie</a:t>
            </a:r>
            <a:r>
              <a:rPr lang="en-US" b="1">
                <a:solidFill>
                  <a:srgbClr val="5A647D"/>
                </a:solidFill>
              </a:rPr>
              <a:t> Roncal</a:t>
            </a:r>
          </a:p>
          <a:p>
            <a:pPr marL="0" indent="0">
              <a:buNone/>
            </a:pPr>
            <a:r>
              <a:rPr lang="en-US" sz="2200">
                <a:solidFill>
                  <a:srgbClr val="5A647D"/>
                </a:solidFill>
              </a:rPr>
              <a:t>Ikea Operations Manager</a:t>
            </a:r>
          </a:p>
          <a:p>
            <a:pPr marL="0" indent="0">
              <a:buNone/>
            </a:pPr>
            <a:endParaRPr lang="en-US" b="1">
              <a:solidFill>
                <a:srgbClr val="5A647D"/>
              </a:solidFill>
            </a:endParaRPr>
          </a:p>
        </p:txBody>
      </p:sp>
      <p:pic>
        <p:nvPicPr>
          <p:cNvPr id="15" name="Picture 14" descr="A person smiling in a gear&#10;&#10;Description automatically generated with low confidence">
            <a:extLst>
              <a:ext uri="{FF2B5EF4-FFF2-40B4-BE49-F238E27FC236}">
                <a16:creationId xmlns:a16="http://schemas.microsoft.com/office/drawing/2014/main" id="{17CFA365-C084-FE11-D1D0-AD84E14C43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3042" y="1265192"/>
            <a:ext cx="5493833" cy="5493833"/>
          </a:xfrm>
          <a:prstGeom prst="rect">
            <a:avLst/>
          </a:prstGeom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2CA7E27D-8BBA-DA6B-9460-0B5C5A7EF30F}"/>
              </a:ext>
            </a:extLst>
          </p:cNvPr>
          <p:cNvSpPr txBox="1">
            <a:spLocks/>
          </p:cNvSpPr>
          <p:nvPr/>
        </p:nvSpPr>
        <p:spPr>
          <a:xfrm>
            <a:off x="7213573" y="1802227"/>
            <a:ext cx="4661919" cy="48642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323133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323133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323133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323133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323133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err="1">
                <a:solidFill>
                  <a:srgbClr val="5A647D"/>
                </a:solidFill>
              </a:rPr>
              <a:t>Roxzannie</a:t>
            </a:r>
            <a:r>
              <a:rPr lang="en-US" b="1">
                <a:solidFill>
                  <a:srgbClr val="5A647D"/>
                </a:solidFill>
              </a:rPr>
              <a:t> </a:t>
            </a:r>
            <a:r>
              <a:rPr lang="en-US" b="1" err="1">
                <a:solidFill>
                  <a:srgbClr val="5A647D"/>
                </a:solidFill>
              </a:rPr>
              <a:t>Añosa</a:t>
            </a:r>
            <a:endParaRPr lang="en-US" b="1">
              <a:solidFill>
                <a:srgbClr val="5A647D"/>
              </a:solidFill>
            </a:endParaRPr>
          </a:p>
          <a:p>
            <a:pPr marL="0" indent="0">
              <a:buNone/>
            </a:pPr>
            <a:r>
              <a:rPr lang="en-US" sz="2200">
                <a:solidFill>
                  <a:srgbClr val="5A647D"/>
                </a:solidFill>
              </a:rPr>
              <a:t>Retail and Commerce Consultant</a:t>
            </a:r>
          </a:p>
        </p:txBody>
      </p:sp>
      <p:pic>
        <p:nvPicPr>
          <p:cNvPr id="13" name="Picture 12" descr="A person with long hair wearing a black shirt&#10;&#10;Description automatically generated with medium confidence">
            <a:extLst>
              <a:ext uri="{FF2B5EF4-FFF2-40B4-BE49-F238E27FC236}">
                <a16:creationId xmlns:a16="http://schemas.microsoft.com/office/drawing/2014/main" id="{E82AA9A6-256D-FFFA-EA5A-719336DE47C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3528" y="1267998"/>
            <a:ext cx="5464097" cy="5464097"/>
          </a:xfrm>
          <a:prstGeom prst="rect">
            <a:avLst/>
          </a:prstGeom>
        </p:spPr>
      </p:pic>
      <p:pic>
        <p:nvPicPr>
          <p:cNvPr id="17" name="Picture 16" descr="A collage of people in a gear&#10;&#10;Description automatically generated with low confidence">
            <a:extLst>
              <a:ext uri="{FF2B5EF4-FFF2-40B4-BE49-F238E27FC236}">
                <a16:creationId xmlns:a16="http://schemas.microsoft.com/office/drawing/2014/main" id="{5B613D18-78DB-B8F4-AEC3-BBE4316713C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63552" y="1249782"/>
            <a:ext cx="5493833" cy="5493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3629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7" grpId="0"/>
      <p:bldP spid="11" grpId="0"/>
      <p:bldP spid="14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09220432-B1DF-10BB-1751-7DCC510CE63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2114" y="950510"/>
            <a:ext cx="4647773" cy="4956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137469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C231C7A-8D76-8C42-0542-687EBCB3C20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4906" y="1889035"/>
            <a:ext cx="3320446" cy="333023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62005" stA="10015" endPos="21818" dist="5000" dir="5400000" sy="-100000" algn="bl" rotWithShape="0"/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7D641C4-FCEC-8786-524C-665DC8CF2B3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5524" y="1956875"/>
            <a:ext cx="3544743" cy="326434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62005" stA="10015" endPos="21818" dist="5000" dir="5400000" sy="-100000" algn="bl" rotWithShape="0"/>
          </a:effectLst>
        </p:spPr>
      </p:pic>
      <p:pic>
        <p:nvPicPr>
          <p:cNvPr id="1026" name="Picture 2" descr="Image">
            <a:extLst>
              <a:ext uri="{FF2B5EF4-FFF2-40B4-BE49-F238E27FC236}">
                <a16:creationId xmlns:a16="http://schemas.microsoft.com/office/drawing/2014/main" id="{AD4BB5D0-8648-D413-5B1B-8EFE3B60AC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46396" y="2468203"/>
            <a:ext cx="3668083" cy="275106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62005" stA="10015" endPos="21818" dist="5000" dir="5400000" sy="-100000" algn="bl" rotWithShape="0"/>
          </a:effectLst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1F69A0C7-BF57-B222-AC48-34B8B58DFC2C}"/>
              </a:ext>
            </a:extLst>
          </p:cNvPr>
          <p:cNvSpPr txBox="1">
            <a:spLocks/>
          </p:cNvSpPr>
          <p:nvPr/>
        </p:nvSpPr>
        <p:spPr>
          <a:xfrm>
            <a:off x="340290" y="488601"/>
            <a:ext cx="8171193" cy="58863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bg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>
                <a:solidFill>
                  <a:srgbClr val="361D5C"/>
                </a:solidFill>
              </a:rPr>
              <a:t>SHINE –Strengthen your team </a:t>
            </a:r>
          </a:p>
        </p:txBody>
      </p:sp>
    </p:spTree>
    <p:extLst>
      <p:ext uri="{BB962C8B-B14F-4D97-AF65-F5344CB8AC3E}">
        <p14:creationId xmlns:p14="http://schemas.microsoft.com/office/powerpoint/2010/main" val="7897011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A person flexing her arm&#10;&#10;Description automatically generated with medium confidence">
            <a:extLst>
              <a:ext uri="{FF2B5EF4-FFF2-40B4-BE49-F238E27FC236}">
                <a16:creationId xmlns:a16="http://schemas.microsoft.com/office/drawing/2014/main" id="{1059E86E-5BEB-0D72-AF1A-9D3061234048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4874400" cy="685800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21ADAF4-855F-2983-2DBF-0DA34B43B6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>
                <a:latin typeface="Segoe UI"/>
                <a:cs typeface="Segoe UI"/>
              </a:rPr>
              <a:t>Empower - Change in last years 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CD47B6C-2589-FECF-166E-5A958A31C1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lIns="91440" tIns="45720" rIns="91440" bIns="45720" anchor="t"/>
          <a:lstStyle/>
          <a:p>
            <a:pPr marL="457200" indent="-457200"/>
            <a:r>
              <a:rPr lang="en-US">
                <a:latin typeface="Segoe UI"/>
                <a:cs typeface="Segoe UI"/>
              </a:rPr>
              <a:t>Analyzed the hiring practices and leadership policies to increase the DEI</a:t>
            </a:r>
          </a:p>
          <a:p>
            <a:pPr marL="457200" indent="-457200"/>
            <a:r>
              <a:rPr lang="en-US">
                <a:latin typeface="Segoe UI"/>
                <a:cs typeface="Segoe UI"/>
              </a:rPr>
              <a:t>Encourage Women to take new challenges, and step outside of their Comfort Zone. </a:t>
            </a:r>
            <a:endParaRPr lang="en-US"/>
          </a:p>
          <a:p>
            <a:pPr marL="457200" indent="-457200"/>
            <a:r>
              <a:rPr lang="en-US">
                <a:latin typeface="Segoe UI"/>
                <a:cs typeface="Segoe UI"/>
              </a:rPr>
              <a:t>Women have been promoted and set as a role model within LS Retail </a:t>
            </a:r>
          </a:p>
          <a:p>
            <a:pPr marL="457200" indent="-457200"/>
            <a:r>
              <a:rPr lang="en-US">
                <a:solidFill>
                  <a:srgbClr val="FFFFFF"/>
                </a:solidFill>
                <a:latin typeface="Segoe UI"/>
                <a:cs typeface="Segoe UI"/>
              </a:rPr>
              <a:t>Provide External Training Programs</a:t>
            </a:r>
          </a:p>
          <a:p>
            <a:pPr marL="457200" indent="-457200"/>
            <a:endParaRPr lang="en-US" sz="1100">
              <a:solidFill>
                <a:srgbClr val="000000"/>
              </a:solidFill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922249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DE3DE9-8FB6-2D35-9ABC-19A65C45B2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latin typeface="Segoe UI"/>
                <a:cs typeface="Segoe UI"/>
              </a:rPr>
              <a:t>Has the glass ceiling been broken?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A8A095B-24D8-5E51-AAB0-7A0C70B5E1A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3711" y="1361604"/>
            <a:ext cx="11692822" cy="5073650"/>
          </a:xfrm>
        </p:spPr>
        <p:txBody>
          <a:bodyPr lIns="91440" tIns="45720" rIns="91440" bIns="45720" anchor="t"/>
          <a:lstStyle/>
          <a:p>
            <a:r>
              <a:rPr lang="en-US" sz="3200" dirty="0">
                <a:latin typeface="Segoe UI"/>
                <a:cs typeface="Segoe UI"/>
              </a:rPr>
              <a:t>The door to the C-suite is wider for Females today than it was 10 years ago. </a:t>
            </a:r>
          </a:p>
          <a:p>
            <a:r>
              <a:rPr lang="en-US" sz="3200" dirty="0">
                <a:latin typeface="Segoe UI"/>
                <a:cs typeface="Segoe UI"/>
              </a:rPr>
              <a:t>More Female working for LS Retail than Globally</a:t>
            </a:r>
          </a:p>
          <a:p>
            <a:pPr marL="0" indent="0">
              <a:buNone/>
            </a:pPr>
            <a:endParaRPr lang="en-US" sz="3200" dirty="0">
              <a:latin typeface="Segoe UI"/>
              <a:cs typeface="Segoe UI"/>
            </a:endParaRPr>
          </a:p>
          <a:p>
            <a:pPr marL="0" indent="0">
              <a:buNone/>
            </a:pPr>
            <a:r>
              <a:rPr lang="en-US" sz="3200" b="1" dirty="0">
                <a:latin typeface="Segoe UI"/>
                <a:cs typeface="Segoe UI"/>
              </a:rPr>
              <a:t>What can be the reason that the gender ratio is not higher? </a:t>
            </a:r>
          </a:p>
          <a:p>
            <a:r>
              <a:rPr lang="en-US" sz="3200" dirty="0">
                <a:latin typeface="Segoe UI"/>
                <a:cs typeface="Segoe UI"/>
              </a:rPr>
              <a:t>Firms with more women in senior positions are: </a:t>
            </a:r>
          </a:p>
          <a:p>
            <a:pPr lvl="1"/>
            <a:r>
              <a:rPr lang="en-US" sz="2800" dirty="0">
                <a:latin typeface="Segoe UI"/>
                <a:cs typeface="Segoe UI"/>
              </a:rPr>
              <a:t>More Profitable</a:t>
            </a:r>
          </a:p>
          <a:p>
            <a:pPr lvl="1"/>
            <a:r>
              <a:rPr lang="en-US" sz="2800" dirty="0">
                <a:latin typeface="Segoe UI"/>
                <a:cs typeface="Segoe UI"/>
              </a:rPr>
              <a:t>More socially responsible</a:t>
            </a:r>
          </a:p>
          <a:p>
            <a:pPr lvl="1"/>
            <a:r>
              <a:rPr lang="en-US" sz="2800" dirty="0">
                <a:latin typeface="Segoe UI"/>
                <a:cs typeface="Segoe UI"/>
              </a:rPr>
              <a:t>Provide safer, higher – quality</a:t>
            </a:r>
          </a:p>
          <a:p>
            <a:pPr marL="0" indent="0">
              <a:buNone/>
            </a:pPr>
            <a:endParaRPr lang="en-US" dirty="0">
              <a:latin typeface="Segoe UI"/>
              <a:cs typeface="Segoe UI"/>
            </a:endParaRPr>
          </a:p>
          <a:p>
            <a:endParaRPr lang="en-US" sz="2400" dirty="0">
              <a:latin typeface="Segoe UI"/>
              <a:cs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4816935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2489C7A0-DB84-587C-205C-38BAE8068E93}"/>
              </a:ext>
            </a:extLst>
          </p:cNvPr>
          <p:cNvGrpSpPr/>
          <p:nvPr/>
        </p:nvGrpSpPr>
        <p:grpSpPr>
          <a:xfrm flipH="1">
            <a:off x="0" y="0"/>
            <a:ext cx="12192000" cy="6858001"/>
            <a:chOff x="0" y="0"/>
            <a:chExt cx="12192000" cy="6858001"/>
          </a:xfrm>
        </p:grpSpPr>
        <p:pic>
          <p:nvPicPr>
            <p:cNvPr id="9" name="Picture 8" descr="A picture containing sky, outdoor, nature, mountain&#10;&#10;Description automatically generated">
              <a:extLst>
                <a:ext uri="{FF2B5EF4-FFF2-40B4-BE49-F238E27FC236}">
                  <a16:creationId xmlns:a16="http://schemas.microsoft.com/office/drawing/2014/main" id="{7558752F-B1D6-2089-3745-86CDFD37018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1"/>
              <a:ext cx="12192000" cy="6858000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8956DEE-0B67-5F9F-3504-4307A328D22F}"/>
                </a:ext>
              </a:extLst>
            </p:cNvPr>
            <p:cNvSpPr/>
            <p:nvPr/>
          </p:nvSpPr>
          <p:spPr>
            <a:xfrm rot="5400000">
              <a:off x="2667000" y="-2667000"/>
              <a:ext cx="6857999" cy="12192000"/>
            </a:xfrm>
            <a:prstGeom prst="rect">
              <a:avLst/>
            </a:prstGeom>
            <a:gradFill>
              <a:gsLst>
                <a:gs pos="100000">
                  <a:srgbClr val="361D5C">
                    <a:alpha val="0"/>
                  </a:srgbClr>
                </a:gs>
                <a:gs pos="0">
                  <a:srgbClr val="200C3B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S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5405C8DB-2D95-703C-B6F5-B19B9A6C8187}"/>
              </a:ext>
            </a:extLst>
          </p:cNvPr>
          <p:cNvSpPr/>
          <p:nvPr/>
        </p:nvSpPr>
        <p:spPr>
          <a:xfrm>
            <a:off x="5121222" y="0"/>
            <a:ext cx="7054022" cy="6858000"/>
          </a:xfrm>
          <a:prstGeom prst="rect">
            <a:avLst/>
          </a:prstGeom>
          <a:solidFill>
            <a:srgbClr val="EEEB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AA6FE56-D8A3-CF9B-21A9-32CFBB214C86}"/>
              </a:ext>
            </a:extLst>
          </p:cNvPr>
          <p:cNvSpPr txBox="1"/>
          <p:nvPr/>
        </p:nvSpPr>
        <p:spPr>
          <a:xfrm>
            <a:off x="374150" y="356907"/>
            <a:ext cx="4707384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4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nifesto</a:t>
            </a:r>
            <a:endParaRPr lang="en-US" sz="3600" b="1" i="1">
              <a:solidFill>
                <a:schemeClr val="bg1"/>
              </a:solidFill>
              <a:effectLst/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EFB9515-DF3D-5C70-CE87-F4232EC2DA2C}"/>
              </a:ext>
            </a:extLst>
          </p:cNvPr>
          <p:cNvSpPr txBox="1"/>
          <p:nvPr/>
        </p:nvSpPr>
        <p:spPr>
          <a:xfrm>
            <a:off x="5344885" y="83314"/>
            <a:ext cx="6539753" cy="698652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342900" lvl="0" indent="-342900">
              <a:buFont typeface="+mj-lt"/>
              <a:buAutoNum type="arabicPeriod"/>
            </a:pPr>
            <a:r>
              <a:rPr lang="en-US" sz="1400" b="1" dirty="0">
                <a:solidFill>
                  <a:srgbClr val="351C5C"/>
                </a:solidFill>
                <a:latin typeface="Segoe UI"/>
                <a:ea typeface="Times New Roman" panose="02020603050405020304" pitchFamily="18" charset="0"/>
                <a:cs typeface="Segoe UI"/>
              </a:rPr>
              <a:t>Integrity</a:t>
            </a:r>
            <a:r>
              <a:rPr lang="en-US" sz="1400" dirty="0">
                <a:solidFill>
                  <a:srgbClr val="351C5C"/>
                </a:solidFill>
                <a:latin typeface="Segoe UI"/>
                <a:ea typeface="Times New Roman" panose="02020603050405020304" pitchFamily="18" charset="0"/>
                <a:cs typeface="Segoe UI"/>
              </a:rPr>
              <a:t>: We conduct business and treat colleagues with honesty</a:t>
            </a:r>
            <a:br>
              <a:rPr lang="en-US" sz="1400" dirty="0"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</a:br>
            <a:r>
              <a:rPr lang="en-US" sz="1400" dirty="0">
                <a:solidFill>
                  <a:srgbClr val="351C5C"/>
                </a:solidFill>
                <a:latin typeface="Segoe UI"/>
                <a:ea typeface="Times New Roman" panose="02020603050405020304" pitchFamily="18" charset="0"/>
                <a:cs typeface="Segoe UI"/>
              </a:rPr>
              <a:t>and transparency.</a:t>
            </a:r>
            <a:br>
              <a:rPr lang="en-US" sz="1400" dirty="0"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</a:br>
            <a:endParaRPr lang="en-US" sz="1400" dirty="0">
              <a:solidFill>
                <a:srgbClr val="351C5C"/>
              </a:solidFill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US" sz="1400" b="1" dirty="0">
                <a:solidFill>
                  <a:srgbClr val="351C5C"/>
                </a:solidFill>
                <a:latin typeface="Segoe UI"/>
                <a:ea typeface="Times New Roman" panose="02020603050405020304" pitchFamily="18" charset="0"/>
                <a:cs typeface="Segoe UI"/>
              </a:rPr>
              <a:t>Innovation</a:t>
            </a:r>
            <a:r>
              <a:rPr lang="en-US" sz="1400" dirty="0">
                <a:solidFill>
                  <a:srgbClr val="351C5C"/>
                </a:solidFill>
                <a:latin typeface="Segoe UI"/>
                <a:ea typeface="Times New Roman" panose="02020603050405020304" pitchFamily="18" charset="0"/>
                <a:cs typeface="Segoe UI"/>
              </a:rPr>
              <a:t>: We value creativity and encourage new ideas and better problem-solving.</a:t>
            </a:r>
            <a:br>
              <a:rPr lang="en-US" sz="1400" dirty="0"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</a:br>
            <a:endParaRPr lang="en-US" sz="1400" dirty="0">
              <a:solidFill>
                <a:srgbClr val="351C5C"/>
              </a:solidFill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400" b="1" dirty="0">
                <a:solidFill>
                  <a:srgbClr val="351C5C"/>
                </a:solidFill>
                <a:latin typeface="Segoe UI"/>
                <a:ea typeface="Times New Roman" panose="02020603050405020304" pitchFamily="18" charset="0"/>
                <a:cs typeface="Segoe UI"/>
              </a:rPr>
              <a:t>Empowerment</a:t>
            </a:r>
            <a:r>
              <a:rPr lang="en-US" sz="1400" dirty="0">
                <a:solidFill>
                  <a:srgbClr val="351C5C"/>
                </a:solidFill>
                <a:latin typeface="Segoe UI"/>
                <a:ea typeface="Times New Roman" panose="02020603050405020304" pitchFamily="18" charset="0"/>
                <a:cs typeface="Segoe UI"/>
              </a:rPr>
              <a:t>: We empower our employees to take ownership, grow and excel in their roles.</a:t>
            </a:r>
            <a:br>
              <a:rPr lang="en-US" sz="1400" dirty="0"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</a:br>
            <a:endParaRPr lang="en-US" sz="1400" dirty="0">
              <a:solidFill>
                <a:srgbClr val="351C5C"/>
              </a:solidFill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US" sz="1400" b="1" dirty="0">
                <a:solidFill>
                  <a:srgbClr val="351C5C"/>
                </a:solidFill>
                <a:latin typeface="Segoe UI"/>
                <a:ea typeface="Times New Roman" panose="02020603050405020304" pitchFamily="18" charset="0"/>
                <a:cs typeface="Segoe UI"/>
              </a:rPr>
              <a:t>Customer</a:t>
            </a:r>
            <a:r>
              <a:rPr lang="en-US" sz="1400" dirty="0">
                <a:solidFill>
                  <a:srgbClr val="351C5C"/>
                </a:solidFill>
                <a:latin typeface="Segoe UI"/>
                <a:ea typeface="Times New Roman" panose="02020603050405020304" pitchFamily="18" charset="0"/>
                <a:cs typeface="Segoe UI"/>
              </a:rPr>
              <a:t> </a:t>
            </a:r>
            <a:r>
              <a:rPr lang="en-US" sz="1400" b="1" dirty="0">
                <a:solidFill>
                  <a:srgbClr val="351C5C"/>
                </a:solidFill>
                <a:latin typeface="Segoe UI"/>
                <a:ea typeface="Times New Roman" panose="02020603050405020304" pitchFamily="18" charset="0"/>
                <a:cs typeface="Segoe UI"/>
              </a:rPr>
              <a:t>Focus</a:t>
            </a:r>
            <a:r>
              <a:rPr lang="en-US" sz="1400" dirty="0">
                <a:solidFill>
                  <a:srgbClr val="351C5C"/>
                </a:solidFill>
                <a:latin typeface="Segoe UI"/>
                <a:ea typeface="Times New Roman" panose="02020603050405020304" pitchFamily="18" charset="0"/>
                <a:cs typeface="Segoe UI"/>
              </a:rPr>
              <a:t>: We prioritize meeting customer needs and enable them to grow their businesses.</a:t>
            </a:r>
            <a:br>
              <a:rPr lang="en-US" sz="1400" dirty="0"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</a:br>
            <a:endParaRPr lang="en-US" sz="1400" dirty="0">
              <a:solidFill>
                <a:srgbClr val="351C5C"/>
              </a:solidFill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400" b="1" dirty="0">
                <a:solidFill>
                  <a:srgbClr val="351C5C"/>
                </a:solidFill>
                <a:latin typeface="Segoe UI"/>
                <a:ea typeface="Times New Roman" panose="02020603050405020304" pitchFamily="18" charset="0"/>
                <a:cs typeface="Segoe UI"/>
              </a:rPr>
              <a:t>Partners</a:t>
            </a:r>
            <a:r>
              <a:rPr lang="en-US" sz="1600" b="1" dirty="0">
                <a:solidFill>
                  <a:srgbClr val="323133"/>
                </a:solidFill>
                <a:latin typeface="Calibri"/>
                <a:ea typeface="Times New Roman" panose="02020603050405020304" pitchFamily="18" charset="0"/>
                <a:cs typeface="Calibri"/>
              </a:rPr>
              <a:t>:</a:t>
            </a:r>
            <a:r>
              <a:rPr lang="en-US" sz="1600" dirty="0">
                <a:solidFill>
                  <a:srgbClr val="323133"/>
                </a:solidFill>
                <a:latin typeface="Calibri"/>
                <a:ea typeface="Times New Roman" panose="02020603050405020304" pitchFamily="18" charset="0"/>
                <a:cs typeface="Calibri"/>
              </a:rPr>
              <a:t> </a:t>
            </a:r>
            <a:r>
              <a:rPr lang="en-US" sz="1400" dirty="0">
                <a:solidFill>
                  <a:srgbClr val="351C5C"/>
                </a:solidFill>
                <a:latin typeface="Segoe UI"/>
                <a:cs typeface="Segoe UI"/>
              </a:rPr>
              <a:t>We have the leading retail and hospitality community that we take active steps to strengthen.</a:t>
            </a:r>
          </a:p>
          <a:p>
            <a:pPr marL="342900" indent="-342900">
              <a:buAutoNum type="arabicPeriod"/>
            </a:pPr>
            <a:endParaRPr lang="en-US" sz="1400" b="1" dirty="0">
              <a:solidFill>
                <a:srgbClr val="351C5C"/>
              </a:solidFill>
              <a:latin typeface="Segoe UI"/>
              <a:ea typeface="Times New Roman" panose="02020603050405020304" pitchFamily="18" charset="0"/>
              <a:cs typeface="Segoe UI"/>
            </a:endParaRPr>
          </a:p>
          <a:p>
            <a:pPr marL="342900" indent="-342900">
              <a:buAutoNum type="arabicPeriod"/>
            </a:pPr>
            <a:r>
              <a:rPr lang="en-US" sz="1400" b="1" dirty="0">
                <a:solidFill>
                  <a:srgbClr val="351C5C"/>
                </a:solidFill>
                <a:latin typeface="Segoe UI"/>
                <a:ea typeface="Times New Roman" panose="02020603050405020304" pitchFamily="18" charset="0"/>
                <a:cs typeface="Segoe UI"/>
              </a:rPr>
              <a:t>Teamwork</a:t>
            </a:r>
            <a:r>
              <a:rPr lang="en-US" sz="1400" dirty="0">
                <a:solidFill>
                  <a:srgbClr val="351C5C"/>
                </a:solidFill>
                <a:latin typeface="Segoe UI"/>
                <a:ea typeface="Times New Roman" panose="02020603050405020304" pitchFamily="18" charset="0"/>
                <a:cs typeface="Segoe UI"/>
              </a:rPr>
              <a:t>: We value and encourage collaboration internally, across teams and regions, and with partners and customers.</a:t>
            </a:r>
            <a:br>
              <a:rPr lang="en-US" sz="1400" dirty="0">
                <a:solidFill>
                  <a:srgbClr val="351C5C"/>
                </a:solidFill>
                <a:latin typeface="Segoe UI"/>
                <a:ea typeface="Times New Roman" panose="02020603050405020304" pitchFamily="18" charset="0"/>
                <a:cs typeface="Segoe UI"/>
              </a:rPr>
            </a:br>
            <a:endParaRPr lang="en-US" sz="1400" dirty="0"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US" sz="1400" b="1" dirty="0">
                <a:solidFill>
                  <a:srgbClr val="351C5C"/>
                </a:solidFill>
                <a:latin typeface="Segoe UI"/>
                <a:ea typeface="Times New Roman" panose="02020603050405020304" pitchFamily="18" charset="0"/>
                <a:cs typeface="Segoe UI"/>
              </a:rPr>
              <a:t>Professionalism</a:t>
            </a:r>
            <a:r>
              <a:rPr lang="en-US" sz="1400" dirty="0">
                <a:solidFill>
                  <a:srgbClr val="351C5C"/>
                </a:solidFill>
                <a:latin typeface="Segoe UI"/>
                <a:ea typeface="Times New Roman" panose="02020603050405020304" pitchFamily="18" charset="0"/>
                <a:cs typeface="Segoe UI"/>
              </a:rPr>
              <a:t>: We provide high-quality products and services in a professional and respectful manner.</a:t>
            </a:r>
            <a:br>
              <a:rPr lang="en-US" sz="1400" dirty="0"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</a:br>
            <a:endParaRPr lang="en-US" sz="1400" dirty="0">
              <a:solidFill>
                <a:srgbClr val="351C5C"/>
              </a:solidFill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400" b="1" dirty="0">
                <a:solidFill>
                  <a:srgbClr val="351C5C"/>
                </a:solidFill>
                <a:latin typeface="Segoe UI"/>
                <a:ea typeface="Times New Roman" panose="02020603050405020304" pitchFamily="18" charset="0"/>
                <a:cs typeface="Segoe UI"/>
              </a:rPr>
              <a:t>Accountability</a:t>
            </a:r>
            <a:r>
              <a:rPr lang="en-US" sz="1400" dirty="0">
                <a:solidFill>
                  <a:srgbClr val="351C5C"/>
                </a:solidFill>
                <a:latin typeface="Segoe UI"/>
                <a:ea typeface="Times New Roman" panose="02020603050405020304" pitchFamily="18" charset="0"/>
                <a:cs typeface="Segoe UI"/>
              </a:rPr>
              <a:t>: We are responsible for our actions. </a:t>
            </a:r>
            <a:endParaRPr lang="en-US" sz="1400" dirty="0">
              <a:latin typeface="Segoe UI"/>
              <a:ea typeface="Calibri" panose="020F0502020204030204" pitchFamily="34" charset="0"/>
              <a:cs typeface="Segoe UI"/>
            </a:endParaRPr>
          </a:p>
          <a:p>
            <a:pPr marL="342900" indent="-342900">
              <a:buAutoNum type="arabicPeriod"/>
            </a:pPr>
            <a:endParaRPr lang="en-US" sz="1400" dirty="0">
              <a:solidFill>
                <a:srgbClr val="351C5C"/>
              </a:solidFill>
              <a:latin typeface="Segoe UI"/>
              <a:ea typeface="Times New Roman" panose="02020603050405020304" pitchFamily="18" charset="0"/>
              <a:cs typeface="Segoe UI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400" b="1" dirty="0">
                <a:solidFill>
                  <a:srgbClr val="351C5C"/>
                </a:solidFill>
                <a:latin typeface="Segoe UI"/>
                <a:ea typeface="Times New Roman" panose="02020603050405020304" pitchFamily="18" charset="0"/>
                <a:cs typeface="Segoe UI"/>
              </a:rPr>
              <a:t>Fun</a:t>
            </a:r>
            <a:r>
              <a:rPr lang="en-US" sz="1400" dirty="0">
                <a:solidFill>
                  <a:srgbClr val="351C5C"/>
                </a:solidFill>
                <a:latin typeface="Segoe UI"/>
                <a:ea typeface="Times New Roman" panose="02020603050405020304" pitchFamily="18" charset="0"/>
                <a:cs typeface="Segoe UI"/>
              </a:rPr>
              <a:t>: We encourage a positive work environment and enjoyable workplace</a:t>
            </a:r>
            <a:r>
              <a:rPr lang="en-US" sz="1200" dirty="0">
                <a:solidFill>
                  <a:srgbClr val="351C5C"/>
                </a:solidFill>
                <a:latin typeface="Segoe UI"/>
                <a:ea typeface="Times New Roman" panose="02020603050405020304" pitchFamily="18" charset="0"/>
                <a:cs typeface="Segoe UI"/>
              </a:rPr>
              <a:t>.</a:t>
            </a:r>
            <a:endParaRPr lang="en-US" sz="1200" dirty="0">
              <a:solidFill>
                <a:srgbClr val="351C5C"/>
              </a:solidFill>
              <a:latin typeface="Segoe UI"/>
              <a:ea typeface="Calibri" panose="020F0502020204030204" pitchFamily="34" charset="0"/>
              <a:cs typeface="Segoe UI"/>
            </a:endParaRPr>
          </a:p>
          <a:p>
            <a:pPr marL="342900" indent="-342900">
              <a:buAutoNum type="arabicPeriod"/>
            </a:pPr>
            <a:endParaRPr lang="en-US" sz="1200" dirty="0">
              <a:solidFill>
                <a:srgbClr val="351C5C"/>
              </a:solidFill>
              <a:latin typeface="Segoe UI"/>
              <a:cs typeface="Segoe UI"/>
            </a:endParaRPr>
          </a:p>
          <a:p>
            <a:pPr marL="342900" lvl="0" indent="-342900">
              <a:buAutoNum type="arabicPeriod"/>
            </a:pPr>
            <a:r>
              <a:rPr lang="en-US" sz="1400" b="1" dirty="0">
                <a:solidFill>
                  <a:srgbClr val="351C5C"/>
                </a:solidFill>
                <a:latin typeface="Segoe UI"/>
                <a:cs typeface="Segoe UI"/>
              </a:rPr>
              <a:t>Diversity and Inclusion: </a:t>
            </a:r>
            <a:r>
              <a:rPr lang="en-US" sz="1400" dirty="0">
                <a:solidFill>
                  <a:srgbClr val="351C5C"/>
                </a:solidFill>
                <a:latin typeface="Segoe UI"/>
                <a:cs typeface="Segoe UI"/>
              </a:rPr>
              <a:t>We believe in the unique strength of every individual to reach their full potential.</a:t>
            </a:r>
            <a:endParaRPr lang="en-US" sz="1200" dirty="0">
              <a:solidFill>
                <a:srgbClr val="351C5C"/>
              </a:solidFill>
              <a:latin typeface="Segoe UI"/>
              <a:ea typeface="Calibri" panose="020F0502020204030204" pitchFamily="34" charset="0"/>
              <a:cs typeface="Segoe UI"/>
            </a:endParaRPr>
          </a:p>
          <a:p>
            <a:pPr marL="342900" indent="-342900">
              <a:buFontTx/>
              <a:buAutoNum type="arabicPeriod"/>
            </a:pPr>
            <a:endParaRPr lang="en-US" sz="1400" b="1" dirty="0">
              <a:solidFill>
                <a:srgbClr val="351C5C"/>
              </a:solidFill>
              <a:latin typeface="Segoe UI" panose="020B0502040204020203" pitchFamily="34" charset="0"/>
              <a:ea typeface="Times New Roman" panose="02020603050405020304" pitchFamily="18" charset="0"/>
              <a:cs typeface="Segoe UI" panose="020B0502040204020203" pitchFamily="34" charset="0"/>
            </a:endParaRPr>
          </a:p>
          <a:p>
            <a:pPr marL="342900" indent="-342900">
              <a:buFontTx/>
              <a:buAutoNum type="arabicPeriod"/>
            </a:pPr>
            <a:r>
              <a:rPr lang="en-US" sz="1400" b="1" dirty="0">
                <a:solidFill>
                  <a:srgbClr val="351C5C"/>
                </a:solidFill>
                <a:latin typeface="Segoe UI"/>
                <a:ea typeface="Times New Roman" panose="02020603050405020304" pitchFamily="18" charset="0"/>
                <a:cs typeface="Segoe UI"/>
              </a:rPr>
              <a:t>Environmental</a:t>
            </a:r>
            <a:r>
              <a:rPr lang="en-US" sz="1400" dirty="0">
                <a:solidFill>
                  <a:srgbClr val="351C5C"/>
                </a:solidFill>
                <a:latin typeface="Segoe UI"/>
                <a:ea typeface="Times New Roman" panose="02020603050405020304" pitchFamily="18" charset="0"/>
                <a:cs typeface="Segoe UI"/>
              </a:rPr>
              <a:t> </a:t>
            </a:r>
            <a:r>
              <a:rPr lang="en-US" sz="1400" b="1" dirty="0">
                <a:solidFill>
                  <a:srgbClr val="351C5C"/>
                </a:solidFill>
                <a:latin typeface="Segoe UI"/>
                <a:ea typeface="Times New Roman" panose="02020603050405020304" pitchFamily="18" charset="0"/>
                <a:cs typeface="Segoe UI"/>
              </a:rPr>
              <a:t>care</a:t>
            </a:r>
            <a:r>
              <a:rPr lang="en-US" sz="1400" dirty="0">
                <a:solidFill>
                  <a:srgbClr val="351C5C"/>
                </a:solidFill>
                <a:latin typeface="Segoe UI"/>
                <a:ea typeface="Times New Roman" panose="02020603050405020304" pitchFamily="18" charset="0"/>
                <a:cs typeface="Segoe UI"/>
              </a:rPr>
              <a:t>: We promote sustainability and minimize</a:t>
            </a:r>
            <a:br>
              <a:rPr lang="en-US" sz="1400" dirty="0"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</a:br>
            <a:r>
              <a:rPr lang="en-US" sz="1400" dirty="0">
                <a:solidFill>
                  <a:srgbClr val="351C5C"/>
                </a:solidFill>
                <a:latin typeface="Segoe UI"/>
                <a:ea typeface="Times New Roman" panose="02020603050405020304" pitchFamily="18" charset="0"/>
                <a:cs typeface="Segoe UI"/>
              </a:rPr>
              <a:t>environmental impact.</a:t>
            </a:r>
            <a:br>
              <a:rPr lang="en-US" sz="1400" dirty="0"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</a:br>
            <a:endParaRPr lang="en-US" sz="1400" dirty="0">
              <a:solidFill>
                <a:srgbClr val="351C5C"/>
              </a:solidFill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</a:endParaRPr>
          </a:p>
          <a:p>
            <a:pPr marL="342900" indent="-342900">
              <a:buAutoNum type="arabicPeriod"/>
            </a:pPr>
            <a:endParaRPr lang="en-US" sz="1400" dirty="0">
              <a:solidFill>
                <a:srgbClr val="351C5C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D743D49-A9EA-D280-2EE7-7B70A48BB45C}"/>
              </a:ext>
            </a:extLst>
          </p:cNvPr>
          <p:cNvSpPr txBox="1"/>
          <p:nvPr/>
        </p:nvSpPr>
        <p:spPr>
          <a:xfrm>
            <a:off x="437712" y="1276824"/>
            <a:ext cx="4463199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>
                <a:solidFill>
                  <a:schemeClr val="bg1"/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LS Retail provides innovative software solutions for the retail and hospitality industries. Our approach is guided by a set of 11 core principles</a:t>
            </a:r>
            <a:r>
              <a:rPr lang="en-US" sz="2000">
                <a:solidFill>
                  <a:schemeClr val="bg1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.</a:t>
            </a:r>
            <a:endParaRPr lang="en-IS" sz="20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276035D-2601-ABD2-FC0B-D6003366CB8A}"/>
              </a:ext>
            </a:extLst>
          </p:cNvPr>
          <p:cNvSpPr txBox="1"/>
          <p:nvPr/>
        </p:nvSpPr>
        <p:spPr>
          <a:xfrm>
            <a:off x="437712" y="4594962"/>
            <a:ext cx="4463199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>
                <a:solidFill>
                  <a:schemeClr val="bg1"/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These principles guide our strategy and ensure we provide exceptional solutions that meet industry needs while maintaining our commitment to excellence, integrity, and sustainability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780C88B0-7B00-CDB1-017D-4858B7B9D10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86945" y="2968838"/>
            <a:ext cx="3341511" cy="137591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5DCEE980-2212-1DA0-213A-384296AA3FA5}"/>
              </a:ext>
            </a:extLst>
          </p:cNvPr>
          <p:cNvSpPr/>
          <p:nvPr/>
        </p:nvSpPr>
        <p:spPr>
          <a:xfrm>
            <a:off x="5270246" y="2614077"/>
            <a:ext cx="6755973" cy="664308"/>
          </a:xfrm>
          <a:prstGeom prst="rect">
            <a:avLst/>
          </a:prstGeom>
          <a:noFill/>
          <a:ln w="28575">
            <a:solidFill>
              <a:srgbClr val="94326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F25CD12-BBDA-5D82-8614-A29E5943BCAC}"/>
              </a:ext>
            </a:extLst>
          </p:cNvPr>
          <p:cNvSpPr/>
          <p:nvPr/>
        </p:nvSpPr>
        <p:spPr>
          <a:xfrm>
            <a:off x="5236774" y="5330626"/>
            <a:ext cx="6755973" cy="664308"/>
          </a:xfrm>
          <a:prstGeom prst="rect">
            <a:avLst/>
          </a:prstGeom>
          <a:noFill/>
          <a:ln w="28575">
            <a:solidFill>
              <a:srgbClr val="94326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/>
          </a:p>
        </p:txBody>
      </p:sp>
    </p:spTree>
    <p:extLst>
      <p:ext uri="{BB962C8B-B14F-4D97-AF65-F5344CB8AC3E}">
        <p14:creationId xmlns:p14="http://schemas.microsoft.com/office/powerpoint/2010/main" val="3565961215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FF7E81-8932-8968-73CC-42B315F968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Reason for Gender difference 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8008A2-8AAB-65A8-007F-0F0E1C02BCF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>
                <a:latin typeface="Segoe UI"/>
                <a:cs typeface="Segoe UI"/>
              </a:rPr>
              <a:t>Is it more men in the world than women? </a:t>
            </a:r>
          </a:p>
          <a:p>
            <a:pPr marL="0" indent="0">
              <a:buNone/>
            </a:pPr>
            <a:r>
              <a:rPr lang="en-US" b="1" dirty="0">
                <a:latin typeface="Segoe UI"/>
                <a:cs typeface="Segoe UI"/>
              </a:rPr>
              <a:t>Gender ratio:</a:t>
            </a:r>
          </a:p>
          <a:p>
            <a:pPr lvl="1"/>
            <a:r>
              <a:rPr lang="en-US" dirty="0">
                <a:latin typeface="Segoe UI"/>
                <a:cs typeface="Segoe UI"/>
              </a:rPr>
              <a:t>	Women 49,58%</a:t>
            </a:r>
          </a:p>
          <a:p>
            <a:pPr lvl="1"/>
            <a:r>
              <a:rPr lang="en-US" dirty="0">
                <a:latin typeface="Segoe UI"/>
                <a:cs typeface="Segoe UI"/>
              </a:rPr>
              <a:t>	Men 50,42%</a:t>
            </a:r>
            <a:endParaRPr lang="en-US" sz="2800" dirty="0"/>
          </a:p>
          <a:p>
            <a:r>
              <a:rPr lang="en-US" sz="3200" dirty="0"/>
              <a:t>This is a</a:t>
            </a:r>
          </a:p>
          <a:p>
            <a:pPr lvl="1"/>
            <a:r>
              <a:rPr lang="en-US" sz="2800" dirty="0"/>
              <a:t>Business Decision</a:t>
            </a:r>
          </a:p>
          <a:p>
            <a:pPr lvl="1"/>
            <a:r>
              <a:rPr lang="en-US" sz="2800" dirty="0"/>
              <a:t>That needs strategy</a:t>
            </a:r>
          </a:p>
          <a:p>
            <a:pPr marL="457200" lvl="1" indent="0">
              <a:buNone/>
            </a:pPr>
            <a:endParaRPr lang="en-US" sz="2800" dirty="0"/>
          </a:p>
          <a:p>
            <a:r>
              <a:rPr lang="en-GB" sz="3200" dirty="0"/>
              <a:t>That Needs</a:t>
            </a:r>
          </a:p>
          <a:p>
            <a:pPr lvl="1"/>
            <a:r>
              <a:rPr lang="en-GB" sz="2800" dirty="0"/>
              <a:t>Continually Improvement </a:t>
            </a:r>
          </a:p>
          <a:p>
            <a:endParaRPr lang="en-GB" sz="3200" dirty="0"/>
          </a:p>
        </p:txBody>
      </p:sp>
    </p:spTree>
    <p:extLst>
      <p:ext uri="{BB962C8B-B14F-4D97-AF65-F5344CB8AC3E}">
        <p14:creationId xmlns:p14="http://schemas.microsoft.com/office/powerpoint/2010/main" val="28054492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D1A0F5-5828-5AA2-A95E-EFBE0C285E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Our Goal 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9B425B-B92B-105B-3238-AF571CE3919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3200" dirty="0">
                <a:latin typeface="Segoe UI"/>
                <a:cs typeface="Segoe UI"/>
              </a:rPr>
              <a:t>Create a network of minded individuals (male, female &amp; nonbinary) within the global Dynamics community </a:t>
            </a:r>
          </a:p>
          <a:p>
            <a:r>
              <a:rPr lang="en-US" sz="3200" dirty="0">
                <a:latin typeface="Segoe UI"/>
                <a:cs typeface="Segoe UI"/>
              </a:rPr>
              <a:t>Expand our definition of leadership </a:t>
            </a:r>
          </a:p>
          <a:p>
            <a:r>
              <a:rPr lang="en-US" sz="3200" dirty="0">
                <a:latin typeface="Segoe UI"/>
                <a:cs typeface="Segoe UI"/>
              </a:rPr>
              <a:t>Encourage women to take on new challenges</a:t>
            </a:r>
          </a:p>
          <a:p>
            <a:r>
              <a:rPr lang="en-US" sz="3200" dirty="0">
                <a:latin typeface="Segoe UI"/>
                <a:cs typeface="Segoe UI"/>
              </a:rPr>
              <a:t>Provide mentorship and coaching opportunities for women</a:t>
            </a:r>
          </a:p>
          <a:p>
            <a:r>
              <a:rPr lang="en-US" sz="3200" dirty="0">
                <a:latin typeface="Segoe UI"/>
                <a:cs typeface="Segoe UI"/>
              </a:rPr>
              <a:t>Provide external training program with:</a:t>
            </a:r>
          </a:p>
          <a:p>
            <a:pPr lvl="1"/>
            <a:r>
              <a:rPr lang="en-US" sz="2800" dirty="0">
                <a:latin typeface="Segoe UI"/>
                <a:cs typeface="Segoe UI"/>
              </a:rPr>
              <a:t>Networking opportunities </a:t>
            </a:r>
          </a:p>
          <a:p>
            <a:pPr lvl="1"/>
            <a:r>
              <a:rPr lang="en-US" sz="2800" dirty="0">
                <a:latin typeface="Segoe UI"/>
                <a:cs typeface="Segoe UI"/>
              </a:rPr>
              <a:t>Leadership Boot Camp </a:t>
            </a:r>
          </a:p>
          <a:p>
            <a:r>
              <a:rPr lang="en-US" sz="3200" dirty="0">
                <a:latin typeface="Segoe UI"/>
                <a:cs typeface="Segoe UI"/>
              </a:rPr>
              <a:t>Personal Brand for Women</a:t>
            </a:r>
          </a:p>
          <a:p>
            <a:pPr lvl="1"/>
            <a:r>
              <a:rPr lang="en-US" sz="2800" dirty="0">
                <a:latin typeface="Segoe UI"/>
                <a:cs typeface="Segoe UI"/>
              </a:rPr>
              <a:t>Communicate their value </a:t>
            </a:r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9904506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F4934B-6292-4EEF-650D-C85957DF46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Why is this Important 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9A807F-C216-B0C3-AEED-7B59EBC2F1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3200" dirty="0">
                <a:latin typeface="Segoe UI"/>
                <a:cs typeface="Segoe UI"/>
              </a:rPr>
              <a:t>Empowering women and achieving gender equality are not only moral imperative</a:t>
            </a:r>
          </a:p>
          <a:p>
            <a:pPr marL="0" indent="0">
              <a:buNone/>
            </a:pPr>
            <a:endParaRPr lang="en-US" sz="3200" dirty="0">
              <a:latin typeface="Segoe UI"/>
              <a:cs typeface="Segoe UI"/>
            </a:endParaRPr>
          </a:p>
          <a:p>
            <a:r>
              <a:rPr lang="en-US" sz="3200" dirty="0">
                <a:latin typeface="Segoe UI"/>
                <a:cs typeface="Segoe UI"/>
              </a:rPr>
              <a:t>Its crucial for creating inclusive, open and prosperous societies</a:t>
            </a:r>
          </a:p>
          <a:p>
            <a:pPr marL="0" indent="0">
              <a:buNone/>
            </a:pPr>
            <a:endParaRPr lang="en-US" sz="3200" dirty="0">
              <a:latin typeface="Segoe UI"/>
              <a:cs typeface="Segoe UI"/>
            </a:endParaRPr>
          </a:p>
          <a:p>
            <a:r>
              <a:rPr lang="en-US" sz="3200" dirty="0">
                <a:latin typeface="Segoe UI"/>
                <a:cs typeface="Segoe UI"/>
              </a:rPr>
              <a:t>We also need men and people in power to sponsor women </a:t>
            </a:r>
          </a:p>
          <a:p>
            <a:pPr lvl="1"/>
            <a:endParaRPr lang="en-US" sz="2800" dirty="0">
              <a:latin typeface="Segoe UI"/>
              <a:cs typeface="Segoe UI"/>
            </a:endParaRPr>
          </a:p>
          <a:p>
            <a:pPr lvl="1"/>
            <a:endParaRPr lang="en-US" sz="2800" dirty="0">
              <a:latin typeface="Segoe UI"/>
              <a:cs typeface="Segoe UI"/>
            </a:endParaRPr>
          </a:p>
          <a:p>
            <a:endParaRPr lang="en-GB" sz="3600" dirty="0"/>
          </a:p>
        </p:txBody>
      </p:sp>
    </p:spTree>
    <p:extLst>
      <p:ext uri="{BB962C8B-B14F-4D97-AF65-F5344CB8AC3E}">
        <p14:creationId xmlns:p14="http://schemas.microsoft.com/office/powerpoint/2010/main" val="18477463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C048C12-AF4E-59DE-2086-14E86A2EA7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IS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640347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47000" r="-4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graphics, screenshot, violet, colorfulness&#10;&#10;Description automatically generated">
            <a:extLst>
              <a:ext uri="{FF2B5EF4-FFF2-40B4-BE49-F238E27FC236}">
                <a16:creationId xmlns:a16="http://schemas.microsoft.com/office/drawing/2014/main" id="{55670B95-31AB-7A75-67D3-27353FB117F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 amt="50000"/>
          </a:blip>
          <a:srcRect l="9021" r="8270" b="52773"/>
          <a:stretch/>
        </p:blipFill>
        <p:spPr>
          <a:xfrm>
            <a:off x="219075" y="597717"/>
            <a:ext cx="11753851" cy="6260284"/>
          </a:xfrm>
          <a:prstGeom prst="rect">
            <a:avLst/>
          </a:prstGeom>
        </p:spPr>
      </p:pic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166D7711-3B21-6B41-9E9D-425D9BFE6C1D}"/>
              </a:ext>
            </a:extLst>
          </p:cNvPr>
          <p:cNvSpPr>
            <a:spLocks noGrp="1"/>
          </p:cNvSpPr>
          <p:nvPr/>
        </p:nvSpPr>
        <p:spPr>
          <a:xfrm>
            <a:off x="443613" y="1585025"/>
            <a:ext cx="11529312" cy="3095077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>
                <a:latin typeface="Segoe UI"/>
                <a:cs typeface="Segoe UI"/>
              </a:rPr>
              <a:t>Diversity in leadership roles </a:t>
            </a:r>
            <a:endParaRPr lang="en-US" sz="3600" dirty="0"/>
          </a:p>
          <a:p>
            <a:r>
              <a:rPr lang="en-US" sz="3200" dirty="0">
                <a:latin typeface="Segoe UI"/>
                <a:cs typeface="Segoe UI"/>
              </a:rPr>
              <a:t>Little opportunity for C-level positions &amp; career advancement</a:t>
            </a:r>
          </a:p>
          <a:p>
            <a:r>
              <a:rPr lang="en-US" sz="3200" dirty="0">
                <a:latin typeface="Segoe UI"/>
                <a:cs typeface="Segoe UI"/>
              </a:rPr>
              <a:t>To attract and recruit diverse talents </a:t>
            </a:r>
          </a:p>
          <a:p>
            <a:r>
              <a:rPr lang="en-US" sz="3200" dirty="0">
                <a:latin typeface="Segoe UI"/>
                <a:cs typeface="Segoe UI"/>
              </a:rPr>
              <a:t>Representation of women in tech estimated 26.7%, </a:t>
            </a:r>
            <a:br>
              <a:rPr lang="en-US" sz="3200" dirty="0">
                <a:latin typeface="Segoe UI"/>
                <a:cs typeface="Segoe UI"/>
              </a:rPr>
            </a:br>
            <a:r>
              <a:rPr lang="en-US" sz="3200" dirty="0">
                <a:latin typeface="Segoe UI"/>
                <a:cs typeface="Segoe UI"/>
              </a:rPr>
              <a:t>annual growth 0.9%</a:t>
            </a:r>
            <a:endParaRPr lang="en-US" sz="3600" dirty="0"/>
          </a:p>
          <a:p>
            <a:r>
              <a:rPr lang="en-US" sz="3200" dirty="0">
                <a:latin typeface="Segoe UI"/>
                <a:cs typeface="Segoe UI"/>
              </a:rPr>
              <a:t>50% of women in tech leave their job before the age of 35</a:t>
            </a:r>
          </a:p>
          <a:p>
            <a:endParaRPr lang="en-US" sz="3200" dirty="0"/>
          </a:p>
          <a:p>
            <a:endParaRPr lang="en-US" sz="3200" dirty="0">
              <a:latin typeface="Segoe UI"/>
              <a:cs typeface="Segoe UI"/>
            </a:endParaRPr>
          </a:p>
          <a:p>
            <a:endParaRPr lang="en-US" dirty="0"/>
          </a:p>
          <a:p>
            <a:endParaRPr lang="en-US" sz="4400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856939B6-A579-126D-87EB-2E8B5AED5D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676" y="596062"/>
            <a:ext cx="11511418" cy="588637"/>
          </a:xfrm>
        </p:spPr>
        <p:txBody>
          <a:bodyPr>
            <a:noAutofit/>
          </a:bodyPr>
          <a:lstStyle/>
          <a:p>
            <a:r>
              <a:rPr lang="en-US" sz="3900" b="1" dirty="0">
                <a:solidFill>
                  <a:srgbClr val="F6C370"/>
                </a:solidFill>
                <a:latin typeface="Segoe UI"/>
                <a:cs typeface="Segoe UI"/>
              </a:rPr>
              <a:t>Facts &amp; Challenges </a:t>
            </a:r>
            <a:endParaRPr lang="en-US" sz="4200" dirty="0">
              <a:latin typeface="Segoe UI"/>
              <a:cs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6960397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47000" r="-4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graphics, screenshot, violet, colorfulness&#10;&#10;Description automatically generated">
            <a:extLst>
              <a:ext uri="{FF2B5EF4-FFF2-40B4-BE49-F238E27FC236}">
                <a16:creationId xmlns:a16="http://schemas.microsoft.com/office/drawing/2014/main" id="{55670B95-31AB-7A75-67D3-27353FB117F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 amt="50000"/>
          </a:blip>
          <a:srcRect l="9021" r="8270" b="52773"/>
          <a:stretch/>
        </p:blipFill>
        <p:spPr>
          <a:xfrm>
            <a:off x="219075" y="597717"/>
            <a:ext cx="11753851" cy="6260284"/>
          </a:xfrm>
          <a:prstGeom prst="rect">
            <a:avLst/>
          </a:prstGeom>
        </p:spPr>
      </p:pic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166D7711-3B21-6B41-9E9D-425D9BFE6C1D}"/>
              </a:ext>
            </a:extLst>
          </p:cNvPr>
          <p:cNvSpPr>
            <a:spLocks noGrp="1"/>
          </p:cNvSpPr>
          <p:nvPr/>
        </p:nvSpPr>
        <p:spPr>
          <a:xfrm>
            <a:off x="492774" y="1498993"/>
            <a:ext cx="10551841" cy="4459302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Segoe UI"/>
                <a:cs typeface="Segoe UI"/>
              </a:rPr>
              <a:t>Using our platforms to spread awareness and promote the cause</a:t>
            </a:r>
            <a:br>
              <a:rPr lang="en-US" dirty="0">
                <a:latin typeface="Segoe UI"/>
                <a:cs typeface="Segoe UI"/>
              </a:rPr>
            </a:br>
            <a:endParaRPr lang="en-US" dirty="0">
              <a:latin typeface="Segoe UI"/>
              <a:cs typeface="Segoe UI"/>
            </a:endParaRPr>
          </a:p>
          <a:p>
            <a:r>
              <a:rPr lang="en-US" dirty="0">
                <a:latin typeface="Segoe UI"/>
                <a:cs typeface="Segoe UI"/>
              </a:rPr>
              <a:t>Assessing ourselves internally and adopting inclusive practices</a:t>
            </a:r>
            <a:br>
              <a:rPr lang="en-US" dirty="0">
                <a:latin typeface="Segoe UI"/>
                <a:cs typeface="Segoe UI"/>
              </a:rPr>
            </a:br>
            <a:endParaRPr lang="en-US" dirty="0">
              <a:latin typeface="Segoe UI"/>
              <a:cs typeface="Segoe UI"/>
            </a:endParaRPr>
          </a:p>
          <a:p>
            <a:r>
              <a:rPr lang="en-US" dirty="0">
                <a:latin typeface="Segoe UI"/>
                <a:cs typeface="Segoe UI"/>
              </a:rPr>
              <a:t>Knowledge-sharing with others in Dynamics Community</a:t>
            </a:r>
            <a:br>
              <a:rPr lang="en-US" dirty="0">
                <a:latin typeface="Segoe UI"/>
                <a:cs typeface="Segoe UI"/>
              </a:rPr>
            </a:br>
            <a:endParaRPr lang="en-US" dirty="0">
              <a:latin typeface="Segoe UI"/>
              <a:cs typeface="Segoe UI"/>
            </a:endParaRPr>
          </a:p>
          <a:p>
            <a:r>
              <a:rPr lang="en-US" dirty="0">
                <a:latin typeface="Segoe UI"/>
                <a:cs typeface="Segoe UI"/>
              </a:rPr>
              <a:t>Aim to become a role model for our Community </a:t>
            </a:r>
            <a:endParaRPr lang="en-US" dirty="0"/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05B6F7F6-AF86-5FA0-E3C5-763B50368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676" y="596062"/>
            <a:ext cx="11511418" cy="588637"/>
          </a:xfrm>
        </p:spPr>
        <p:txBody>
          <a:bodyPr>
            <a:noAutofit/>
          </a:bodyPr>
          <a:lstStyle/>
          <a:p>
            <a:r>
              <a:rPr lang="en-US" sz="4000" b="1" dirty="0">
                <a:solidFill>
                  <a:srgbClr val="F6C370"/>
                </a:solidFill>
                <a:latin typeface="Segoe UI"/>
                <a:cs typeface="Segoe UI"/>
              </a:rPr>
              <a:t>WID partnership entails</a:t>
            </a:r>
            <a:endParaRPr lang="en-US" sz="4200" dirty="0">
              <a:latin typeface="Segoe UI"/>
              <a:cs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6662807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47000" r="-4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FA723D9-F9BB-E104-3AFA-8C216CE222A8}"/>
              </a:ext>
            </a:extLst>
          </p:cNvPr>
          <p:cNvSpPr txBox="1">
            <a:spLocks/>
          </p:cNvSpPr>
          <p:nvPr/>
        </p:nvSpPr>
        <p:spPr>
          <a:xfrm>
            <a:off x="452514" y="1498422"/>
            <a:ext cx="11268290" cy="4311650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n-IS"/>
            </a:defPPr>
            <a:lvl1pPr marL="0" algn="l" defTabSz="914400" rtl="0" eaLnBrk="1" latinLnBrk="0" hangingPunct="1">
              <a:defRPr sz="1157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/>
            <a:r>
              <a:rPr lang="en-US" sz="2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) Create a network of like-minded individuals (male, female &amp; nonbinary) within the global Dynamics community</a:t>
            </a:r>
            <a:br>
              <a:rPr lang="en-US" sz="2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en-US" sz="28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00050" indent="-400050"/>
            <a:r>
              <a:rPr lang="en-US" sz="2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) Identify &amp; understand the challenges in our community so we can help drive a positive change</a:t>
            </a:r>
            <a:br>
              <a:rPr lang="en-US" sz="2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en-US" sz="28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00050" indent="-400050"/>
            <a:r>
              <a:rPr lang="en-US" sz="2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)  Promote Dynamics as a totally inclusive community and a wonderful place to work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DF80564-5ACE-01F2-E757-480B85D93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676" y="596062"/>
            <a:ext cx="11511418" cy="588637"/>
          </a:xfrm>
        </p:spPr>
        <p:txBody>
          <a:bodyPr>
            <a:noAutofit/>
          </a:bodyPr>
          <a:lstStyle/>
          <a:p>
            <a:r>
              <a:rPr lang="en-US" sz="4000" b="1" dirty="0">
                <a:solidFill>
                  <a:srgbClr val="F6C370"/>
                </a:solidFill>
                <a:latin typeface="Segoe UI"/>
                <a:cs typeface="Segoe UI"/>
              </a:rPr>
              <a:t>Our main goals</a:t>
            </a:r>
            <a:endParaRPr lang="en-US" sz="4200" dirty="0">
              <a:latin typeface="Segoe UI"/>
              <a:cs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7242165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935EE8-83AD-4150-5F09-1C65635E2C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52647" y="2173115"/>
            <a:ext cx="6486706" cy="2511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39903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con&#10;&#10;Description automatically generated">
            <a:extLst>
              <a:ext uri="{FF2B5EF4-FFF2-40B4-BE49-F238E27FC236}">
                <a16:creationId xmlns:a16="http://schemas.microsoft.com/office/drawing/2014/main" id="{B3C26BB1-5B86-90C6-5B14-647CE5742A6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32004" y="955341"/>
            <a:ext cx="4927993" cy="4947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20132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47000" r="-4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56939B6-A579-126D-87EB-2E8B5AED5D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676" y="596062"/>
            <a:ext cx="11511418" cy="588637"/>
          </a:xfrm>
        </p:spPr>
        <p:txBody>
          <a:bodyPr>
            <a:noAutofit/>
          </a:bodyPr>
          <a:lstStyle/>
          <a:p>
            <a:r>
              <a:rPr lang="en-US" sz="3900" b="1" dirty="0">
                <a:solidFill>
                  <a:srgbClr val="F6C370"/>
                </a:solidFill>
                <a:latin typeface="Segoe UI"/>
                <a:cs typeface="Segoe UI"/>
              </a:rPr>
              <a:t>Track</a:t>
            </a:r>
            <a:endParaRPr lang="en-US" sz="4200" dirty="0">
              <a:latin typeface="Segoe UI"/>
              <a:cs typeface="Segoe UI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3918B0D-DBBB-064F-806A-2A21EDB809FF}"/>
              </a:ext>
            </a:extLst>
          </p:cNvPr>
          <p:cNvSpPr txBox="1"/>
          <p:nvPr/>
        </p:nvSpPr>
        <p:spPr>
          <a:xfrm>
            <a:off x="448292" y="1664598"/>
            <a:ext cx="11209109" cy="3539430"/>
          </a:xfrm>
          <a:prstGeom prst="rect">
            <a:avLst/>
          </a:prstGeom>
          <a:noFill/>
          <a:ln>
            <a:noFill/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I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/>
              <a:buChar char="•"/>
            </a:pPr>
            <a:r>
              <a:rPr lang="en-US" sz="2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 know your numbers</a:t>
            </a:r>
            <a:br>
              <a:rPr lang="en-US" sz="2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en-US" sz="28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 typeface="Arial"/>
              <a:buChar char="•"/>
            </a:pPr>
            <a:r>
              <a:rPr lang="en-US" sz="2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reate a D&amp;I taskforce leadership representation</a:t>
            </a:r>
            <a:br>
              <a:rPr lang="en-US" sz="2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en-US" sz="28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 typeface="Arial"/>
              <a:buChar char="•"/>
            </a:pPr>
            <a:r>
              <a:rPr lang="en-US" sz="2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reate a D&amp;I reporting &amp; targets</a:t>
            </a:r>
            <a:br>
              <a:rPr lang="en-US" sz="2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en-US" sz="28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 typeface="Arial"/>
              <a:buChar char="•"/>
            </a:pPr>
            <a:r>
              <a:rPr lang="en-US" sz="2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duce inclusion survey and implement changes</a:t>
            </a:r>
          </a:p>
          <a:p>
            <a:endParaRPr lang="en-US" sz="28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30635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.NZLdmXuiJNfl6R6RW4A"/>
</p:tagLst>
</file>

<file path=ppt/theme/theme1.xml><?xml version="1.0" encoding="utf-8"?>
<a:theme xmlns:a="http://schemas.openxmlformats.org/drawingml/2006/main" name="Purple slides">
  <a:themeElements>
    <a:clrScheme name="LS Retail theme colours 2022">
      <a:dk1>
        <a:srgbClr val="242C2F"/>
      </a:dk1>
      <a:lt1>
        <a:srgbClr val="FFFFFF"/>
      </a:lt1>
      <a:dk2>
        <a:srgbClr val="0A3C66"/>
      </a:dk2>
      <a:lt2>
        <a:srgbClr val="FFFFFF"/>
      </a:lt2>
      <a:accent1>
        <a:srgbClr val="43B3E6"/>
      </a:accent1>
      <a:accent2>
        <a:srgbClr val="E37D24"/>
      </a:accent2>
      <a:accent3>
        <a:srgbClr val="F05351"/>
      </a:accent3>
      <a:accent4>
        <a:srgbClr val="55BE8C"/>
      </a:accent4>
      <a:accent5>
        <a:srgbClr val="F5BE3C"/>
      </a:accent5>
      <a:accent6>
        <a:srgbClr val="B8C0C2"/>
      </a:accent6>
      <a:hlink>
        <a:srgbClr val="006FFF"/>
      </a:hlink>
      <a:folHlink>
        <a:srgbClr val="8A4197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S Retail PowerPoint template 2022" id="{3CE5F289-91CB-4AEF-8C5F-825F4E523EC1}" vid="{DE1334F1-D064-417D-8244-99CAE9F3B2F8}"/>
    </a:ext>
  </a:extLst>
</a:theme>
</file>

<file path=ppt/theme/theme2.xml><?xml version="1.0" encoding="utf-8"?>
<a:theme xmlns:a="http://schemas.openxmlformats.org/drawingml/2006/main" name="White slides">
  <a:themeElements>
    <a:clrScheme name="LS Retail theme colours 2022">
      <a:dk1>
        <a:srgbClr val="242C2F"/>
      </a:dk1>
      <a:lt1>
        <a:srgbClr val="FFFFFF"/>
      </a:lt1>
      <a:dk2>
        <a:srgbClr val="0A3C66"/>
      </a:dk2>
      <a:lt2>
        <a:srgbClr val="FFFFFF"/>
      </a:lt2>
      <a:accent1>
        <a:srgbClr val="43B3E6"/>
      </a:accent1>
      <a:accent2>
        <a:srgbClr val="E37D24"/>
      </a:accent2>
      <a:accent3>
        <a:srgbClr val="F05351"/>
      </a:accent3>
      <a:accent4>
        <a:srgbClr val="55BE8C"/>
      </a:accent4>
      <a:accent5>
        <a:srgbClr val="F5BE3C"/>
      </a:accent5>
      <a:accent6>
        <a:srgbClr val="B8C0C2"/>
      </a:accent6>
      <a:hlink>
        <a:srgbClr val="006FFF"/>
      </a:hlink>
      <a:folHlink>
        <a:srgbClr val="8A4197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S Retail PowerPoint template 2022" id="{3CE5F289-91CB-4AEF-8C5F-825F4E523EC1}" vid="{7C33DFAA-DCA9-4977-B9F2-D597AD1336F9}"/>
    </a:ext>
  </a:extLst>
</a:theme>
</file>

<file path=ppt/theme/theme3.xml><?xml version="1.0" encoding="utf-8"?>
<a:theme xmlns:a="http://schemas.openxmlformats.org/drawingml/2006/main" name="Purple product slides">
  <a:themeElements>
    <a:clrScheme name="LS Retail theme colours 2022">
      <a:dk1>
        <a:srgbClr val="242C2F"/>
      </a:dk1>
      <a:lt1>
        <a:srgbClr val="FFFFFF"/>
      </a:lt1>
      <a:dk2>
        <a:srgbClr val="0A3C66"/>
      </a:dk2>
      <a:lt2>
        <a:srgbClr val="FFFFFF"/>
      </a:lt2>
      <a:accent1>
        <a:srgbClr val="43B3E6"/>
      </a:accent1>
      <a:accent2>
        <a:srgbClr val="E37D24"/>
      </a:accent2>
      <a:accent3>
        <a:srgbClr val="F05351"/>
      </a:accent3>
      <a:accent4>
        <a:srgbClr val="55BE8C"/>
      </a:accent4>
      <a:accent5>
        <a:srgbClr val="F5BE3C"/>
      </a:accent5>
      <a:accent6>
        <a:srgbClr val="B8C0C2"/>
      </a:accent6>
      <a:hlink>
        <a:srgbClr val="006FFF"/>
      </a:hlink>
      <a:folHlink>
        <a:srgbClr val="8A4197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S Retail PowerPoint template 2022" id="{3CE5F289-91CB-4AEF-8C5F-825F4E523EC1}" vid="{E1D5C532-B6AD-49FD-94E3-B4FA01B21BA0}"/>
    </a:ext>
  </a:extLst>
</a:theme>
</file>

<file path=ppt/theme/theme4.xml><?xml version="1.0" encoding="utf-8"?>
<a:theme xmlns:a="http://schemas.openxmlformats.org/drawingml/2006/main" name="White product slides">
  <a:themeElements>
    <a:clrScheme name="LS Retail theme colours 2022">
      <a:dk1>
        <a:srgbClr val="242C2F"/>
      </a:dk1>
      <a:lt1>
        <a:srgbClr val="FFFFFF"/>
      </a:lt1>
      <a:dk2>
        <a:srgbClr val="0A3C66"/>
      </a:dk2>
      <a:lt2>
        <a:srgbClr val="FFFFFF"/>
      </a:lt2>
      <a:accent1>
        <a:srgbClr val="43B3E6"/>
      </a:accent1>
      <a:accent2>
        <a:srgbClr val="E37D24"/>
      </a:accent2>
      <a:accent3>
        <a:srgbClr val="F05351"/>
      </a:accent3>
      <a:accent4>
        <a:srgbClr val="55BE8C"/>
      </a:accent4>
      <a:accent5>
        <a:srgbClr val="F5BE3C"/>
      </a:accent5>
      <a:accent6>
        <a:srgbClr val="B8C0C2"/>
      </a:accent6>
      <a:hlink>
        <a:srgbClr val="006FFF"/>
      </a:hlink>
      <a:folHlink>
        <a:srgbClr val="8A4197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S Retail PowerPoint template 2022" id="{3CE5F289-91CB-4AEF-8C5F-825F4E523EC1}" vid="{BBD16D18-2195-4AD9-802A-21C135DF1745}"/>
    </a:ext>
  </a:extLst>
</a:theme>
</file>

<file path=ppt/theme/theme5.xml><?xml version="1.0" encoding="utf-8"?>
<a:theme xmlns:a="http://schemas.openxmlformats.org/drawingml/2006/main" name="1_Purple slides">
  <a:themeElements>
    <a:clrScheme name="LS Retail theme colours 2022">
      <a:dk1>
        <a:srgbClr val="242C2F"/>
      </a:dk1>
      <a:lt1>
        <a:srgbClr val="FFFFFF"/>
      </a:lt1>
      <a:dk2>
        <a:srgbClr val="0A3C66"/>
      </a:dk2>
      <a:lt2>
        <a:srgbClr val="FFFFFF"/>
      </a:lt2>
      <a:accent1>
        <a:srgbClr val="43B3E6"/>
      </a:accent1>
      <a:accent2>
        <a:srgbClr val="E37D24"/>
      </a:accent2>
      <a:accent3>
        <a:srgbClr val="F05351"/>
      </a:accent3>
      <a:accent4>
        <a:srgbClr val="55BE8C"/>
      </a:accent4>
      <a:accent5>
        <a:srgbClr val="F5BE3C"/>
      </a:accent5>
      <a:accent6>
        <a:srgbClr val="B8C0C2"/>
      </a:accent6>
      <a:hlink>
        <a:srgbClr val="006FFF"/>
      </a:hlink>
      <a:folHlink>
        <a:srgbClr val="8A4197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7" id="{9C9D27E9-1755-FF4E-8D07-86C106A429D4}" vid="{26FFA03B-C889-DE43-969E-393E11001FE7}"/>
    </a:ext>
  </a:extLst>
</a:theme>
</file>

<file path=ppt/theme/theme6.xml><?xml version="1.0" encoding="utf-8"?>
<a:theme xmlns:a="http://schemas.openxmlformats.org/drawingml/2006/main" name="conneXion EMEA slides">
  <a:themeElements>
    <a:clrScheme name="LS Retail theme colours 2022">
      <a:dk1>
        <a:srgbClr val="242C2F"/>
      </a:dk1>
      <a:lt1>
        <a:srgbClr val="FFFFFF"/>
      </a:lt1>
      <a:dk2>
        <a:srgbClr val="0A3C66"/>
      </a:dk2>
      <a:lt2>
        <a:srgbClr val="FFFFFF"/>
      </a:lt2>
      <a:accent1>
        <a:srgbClr val="43B3E6"/>
      </a:accent1>
      <a:accent2>
        <a:srgbClr val="E37D24"/>
      </a:accent2>
      <a:accent3>
        <a:srgbClr val="F05351"/>
      </a:accent3>
      <a:accent4>
        <a:srgbClr val="55BE8C"/>
      </a:accent4>
      <a:accent5>
        <a:srgbClr val="F5BE3C"/>
      </a:accent5>
      <a:accent6>
        <a:srgbClr val="B8C0C2"/>
      </a:accent6>
      <a:hlink>
        <a:srgbClr val="006FFF"/>
      </a:hlink>
      <a:folHlink>
        <a:srgbClr val="8A4197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839409D9-F063-AF46-BFA7-C67DE139FA2F}" vid="{792FBC92-A16D-0345-9684-80E27E7DCDC2}"/>
    </a:ext>
  </a:extLst>
</a:theme>
</file>

<file path=ppt/theme/theme7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1a525c2-d4eb-46fe-9b09-8f8634d7947d" xsi:nil="true"/>
    <lcf76f155ced4ddcb4097134ff3c332f xmlns="0ec22545-32f7-47c8-afbd-c0084660662b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9F778840D0E4448A76F7E32A9FBEAD5" ma:contentTypeVersion="13" ma:contentTypeDescription="Create a new document." ma:contentTypeScope="" ma:versionID="9aca5eb1bfdd2e13153c7ab7c9c59fe1">
  <xsd:schema xmlns:xsd="http://www.w3.org/2001/XMLSchema" xmlns:xs="http://www.w3.org/2001/XMLSchema" xmlns:p="http://schemas.microsoft.com/office/2006/metadata/properties" xmlns:ns2="0ec22545-32f7-47c8-afbd-c0084660662b" xmlns:ns3="a1a525c2-d4eb-46fe-9b09-8f8634d7947d" targetNamespace="http://schemas.microsoft.com/office/2006/metadata/properties" ma:root="true" ma:fieldsID="2fc9f7f1d559baa33c354898c7e47feb" ns2:_="" ns3:_="">
    <xsd:import namespace="0ec22545-32f7-47c8-afbd-c0084660662b"/>
    <xsd:import namespace="a1a525c2-d4eb-46fe-9b09-8f8634d7947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c22545-32f7-47c8-afbd-c0084660662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f8b5d8dc-d837-4d45-bdf0-88d0e4b2b8c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1a525c2-d4eb-46fe-9b09-8f8634d7947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d3107078-99da-4c67-8587-993427b28979}" ma:internalName="TaxCatchAll" ma:showField="CatchAllData" ma:web="a1a525c2-d4eb-46fe-9b09-8f8634d7947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0DD61A0-9A00-4535-9ADD-45B1C406DF2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D57A7F1-5E1F-453E-A92F-37B3E8CCB545}">
  <ds:schemaRefs>
    <ds:schemaRef ds:uri="http://purl.org/dc/elements/1.1/"/>
    <ds:schemaRef ds:uri="http://schemas.microsoft.com/office/2006/metadata/properties"/>
    <ds:schemaRef ds:uri="0ec22545-32f7-47c8-afbd-c0084660662b"/>
    <ds:schemaRef ds:uri="http://schemas.microsoft.com/office/2006/documentManagement/types"/>
    <ds:schemaRef ds:uri="http://purl.org/dc/terms/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a1a525c2-d4eb-46fe-9b09-8f8634d7947d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D33315D8-D560-439B-9330-6026B0A56130}">
  <ds:schemaRefs>
    <ds:schemaRef ds:uri="0ec22545-32f7-47c8-afbd-c0084660662b"/>
    <ds:schemaRef ds:uri="a1a525c2-d4eb-46fe-9b09-8f8634d7947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WID &amp; DEI overview</Template>
  <TotalTime>145</TotalTime>
  <Words>966</Words>
  <Application>Microsoft Office PowerPoint</Application>
  <PresentationFormat>Widescreen</PresentationFormat>
  <Paragraphs>187</Paragraphs>
  <Slides>33</Slides>
  <Notes>28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48" baseType="lpstr">
      <vt:lpstr>Arial</vt:lpstr>
      <vt:lpstr>Calibri</vt:lpstr>
      <vt:lpstr>Calibri Light</vt:lpstr>
      <vt:lpstr>Courier New</vt:lpstr>
      <vt:lpstr>Segoe UI</vt:lpstr>
      <vt:lpstr>Symbol</vt:lpstr>
      <vt:lpstr>Wingdings 2</vt:lpstr>
      <vt:lpstr>Purple slides</vt:lpstr>
      <vt:lpstr>White slides</vt:lpstr>
      <vt:lpstr>Purple product slides</vt:lpstr>
      <vt:lpstr>White product slides</vt:lpstr>
      <vt:lpstr>1_Purple slides</vt:lpstr>
      <vt:lpstr>conneXion EMEA slides</vt:lpstr>
      <vt:lpstr>Office Theme</vt:lpstr>
      <vt:lpstr>think-cell Slide</vt:lpstr>
      <vt:lpstr>PowerPoint Presentation</vt:lpstr>
      <vt:lpstr>PowerPoint Presentation</vt:lpstr>
      <vt:lpstr>PowerPoint Presentation</vt:lpstr>
      <vt:lpstr>Facts &amp; Challenges </vt:lpstr>
      <vt:lpstr>WID partnership entails</vt:lpstr>
      <vt:lpstr>Our main goals</vt:lpstr>
      <vt:lpstr>PowerPoint Presentation</vt:lpstr>
      <vt:lpstr>PowerPoint Presentation</vt:lpstr>
      <vt:lpstr>Track</vt:lpstr>
      <vt:lpstr>PowerPoint Presentation</vt:lpstr>
      <vt:lpstr>PowerPoint Presentation</vt:lpstr>
      <vt:lpstr>PowerPoint Presentation</vt:lpstr>
      <vt:lpstr>PowerPoint Presentation</vt:lpstr>
      <vt:lpstr>Inclusive environment: Recruitment</vt:lpstr>
      <vt:lpstr>PowerPoint Presentation</vt:lpstr>
      <vt:lpstr>PHILIPPINES PERLAS NG SILANGANAN (Pearl of the Orient)</vt:lpstr>
      <vt:lpstr>PowerPoint Presentation</vt:lpstr>
      <vt:lpstr>PowerPoint Presentation</vt:lpstr>
      <vt:lpstr>PowerPoint Presentation</vt:lpstr>
      <vt:lpstr>Diversity makes business sense</vt:lpstr>
      <vt:lpstr>PowerPoint Presentation</vt:lpstr>
      <vt:lpstr>THE REALITY </vt:lpstr>
      <vt:lpstr>OUR DELIBERATE STRATEGIES</vt:lpstr>
      <vt:lpstr>A conducive environment for women</vt:lpstr>
      <vt:lpstr>OUR DYNAMIC FEMALE LEADERS</vt:lpstr>
      <vt:lpstr>PowerPoint Presentation</vt:lpstr>
      <vt:lpstr>PowerPoint Presentation</vt:lpstr>
      <vt:lpstr>Empower - Change in last years </vt:lpstr>
      <vt:lpstr>Has the glass ceiling been broken?</vt:lpstr>
      <vt:lpstr>Reason for Gender difference </vt:lpstr>
      <vt:lpstr>Our Goal </vt:lpstr>
      <vt:lpstr>Why is this Important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ogan Lee Sigurdsson</dc:creator>
  <cp:lastModifiedBy>Bjorn Jonsson</cp:lastModifiedBy>
  <cp:revision>30</cp:revision>
  <dcterms:created xsi:type="dcterms:W3CDTF">2023-04-04T10:24:14Z</dcterms:created>
  <dcterms:modified xsi:type="dcterms:W3CDTF">2023-05-26T16:27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9F778840D0E4448A76F7E32A9FBEAD5</vt:lpwstr>
  </property>
  <property fmtid="{D5CDD505-2E9C-101B-9397-08002B2CF9AE}" pid="3" name="_dlc_DocIdItemGuid">
    <vt:lpwstr>c1ba7755-03e4-4373-a2c6-e3291bf0ac95</vt:lpwstr>
  </property>
  <property fmtid="{D5CDD505-2E9C-101B-9397-08002B2CF9AE}" pid="4" name="MediaServiceImageTags">
    <vt:lpwstr/>
  </property>
</Properties>
</file>